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3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59" r:id="rId1"/>
    <p:sldMasterId id="2147483661" r:id="rId2"/>
    <p:sldMasterId id="2147483676" r:id="rId3"/>
    <p:sldMasterId id="2147483697" r:id="rId4"/>
  </p:sldMasterIdLst>
  <p:notesMasterIdLst>
    <p:notesMasterId r:id="rId17"/>
  </p:notesMasterIdLst>
  <p:sldIdLst>
    <p:sldId id="287" r:id="rId5"/>
    <p:sldId id="694" r:id="rId6"/>
    <p:sldId id="666" r:id="rId7"/>
    <p:sldId id="277" r:id="rId8"/>
    <p:sldId id="259" r:id="rId9"/>
    <p:sldId id="262" r:id="rId10"/>
    <p:sldId id="278" r:id="rId11"/>
    <p:sldId id="760" r:id="rId12"/>
    <p:sldId id="266" r:id="rId13"/>
    <p:sldId id="762" r:id="rId14"/>
    <p:sldId id="761" r:id="rId15"/>
    <p:sldId id="272" r:id="rId16"/>
  </p:sldIdLst>
  <p:sldSz cx="9144000" cy="5143500" type="screen16x9"/>
  <p:notesSz cx="6858000" cy="9144000"/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70"/>
    <a:srgbClr val="FFC700"/>
    <a:srgbClr val="EFB509"/>
    <a:srgbClr val="0059F9"/>
    <a:srgbClr val="00853D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2A4AA88-1E76-4665-A375-346522770578}">
  <a:tblStyle styleId="{52A4AA88-1E76-4665-A375-346522770578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5"/>
    <p:restoredTop sz="94694"/>
  </p:normalViewPr>
  <p:slideViewPr>
    <p:cSldViewPr snapToGrid="0">
      <p:cViewPr varScale="1">
        <p:scale>
          <a:sx n="156" d="100"/>
          <a:sy n="156" d="100"/>
        </p:scale>
        <p:origin x="440" y="168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0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38" name="Google Shape;2038;g7f9262ee2f_0_2613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039" name="Google Shape;2039;g7f9262ee2f_0_2613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19742692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g151052de6ea_0_8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2" name="Google Shape;72;g151052de6ea_0_8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Google Shape;93;g155fe01dcb4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94" name="Google Shape;94;g155fe01dcb4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" name="Google Shape;125;g155fe01dcb4_0_1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26" name="Google Shape;126;g155fe01dcb4_0_1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g151113b1ad4_0_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62" name="Google Shape;162;g151113b1ad4_0_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3"/>
          <p:cNvSpPr txBox="1">
            <a:spLocks noGrp="1"/>
          </p:cNvSpPr>
          <p:nvPr>
            <p:ph type="title"/>
          </p:nvPr>
        </p:nvSpPr>
        <p:spPr>
          <a:xfrm>
            <a:off x="311700" y="2150850"/>
            <a:ext cx="85206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15" name="Google Shape;15;p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Google Shape;49;p12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首页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 userDrawn="1"/>
        </p:nvSpPr>
        <p:spPr>
          <a:xfrm>
            <a:off x="-11430" y="5091420"/>
            <a:ext cx="9178290" cy="52081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50">
              <a:cs typeface="+mn-ea"/>
              <a:sym typeface="+mn-lt"/>
            </a:endParaRPr>
          </a:p>
        </p:txBody>
      </p:sp>
      <p:sp>
        <p:nvSpPr>
          <p:cNvPr id="11" name="副标题 2"/>
          <p:cNvSpPr>
            <a:spLocks noGrp="1"/>
          </p:cNvSpPr>
          <p:nvPr>
            <p:ph type="subTitle" idx="1"/>
          </p:nvPr>
        </p:nvSpPr>
        <p:spPr>
          <a:xfrm>
            <a:off x="502444" y="2654364"/>
            <a:ext cx="8137922" cy="419099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>
                <a:solidFill>
                  <a:schemeClr val="bg1"/>
                </a:solidFill>
              </a:defRPr>
            </a:lvl1pPr>
            <a:lvl2pPr marL="342884" indent="0" algn="ctr">
              <a:buNone/>
              <a:defRPr sz="1500"/>
            </a:lvl2pPr>
            <a:lvl3pPr marL="685766" indent="0" algn="ctr">
              <a:buNone/>
              <a:defRPr sz="1350"/>
            </a:lvl3pPr>
            <a:lvl4pPr marL="1028649" indent="0" algn="ctr">
              <a:buNone/>
              <a:defRPr sz="1200"/>
            </a:lvl4pPr>
            <a:lvl5pPr marL="1371532" indent="0" algn="ctr">
              <a:buNone/>
              <a:defRPr sz="1200"/>
            </a:lvl5pPr>
            <a:lvl6pPr marL="1714415" indent="0" algn="ctr">
              <a:buNone/>
              <a:defRPr sz="1200"/>
            </a:lvl6pPr>
            <a:lvl7pPr marL="2057297" indent="0" algn="ctr">
              <a:buNone/>
              <a:defRPr sz="1200"/>
            </a:lvl7pPr>
            <a:lvl8pPr marL="2400180" indent="0" algn="ctr">
              <a:buNone/>
              <a:defRPr sz="1200"/>
            </a:lvl8pPr>
            <a:lvl9pPr marL="2743064" indent="0" algn="ctr">
              <a:buNone/>
              <a:defRPr sz="1200"/>
            </a:lvl9pPr>
          </a:lstStyle>
          <a:p>
            <a:endParaRPr lang="zh-CN" altLang="en-US" dirty="0"/>
          </a:p>
        </p:txBody>
      </p:sp>
      <p:sp>
        <p:nvSpPr>
          <p:cNvPr id="12" name="标题 1"/>
          <p:cNvSpPr>
            <a:spLocks noGrp="1"/>
          </p:cNvSpPr>
          <p:nvPr>
            <p:ph type="ctrTitle"/>
          </p:nvPr>
        </p:nvSpPr>
        <p:spPr>
          <a:xfrm>
            <a:off x="502444" y="2130421"/>
            <a:ext cx="8137922" cy="523943"/>
          </a:xfrm>
        </p:spPr>
        <p:txBody>
          <a:bodyPr anchor="b">
            <a:normAutofit/>
          </a:bodyPr>
          <a:lstStyle>
            <a:lvl1pPr algn="ctr">
              <a:defRPr sz="2700">
                <a:solidFill>
                  <a:schemeClr val="bg1"/>
                </a:solidFill>
              </a:defRPr>
            </a:lvl1pPr>
          </a:lstStyle>
          <a:p>
            <a:endParaRPr lang="zh-CN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4638115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组合 5">
            <a:extLst>
              <a:ext uri="{FF2B5EF4-FFF2-40B4-BE49-F238E27FC236}">
                <a16:creationId xmlns:a16="http://schemas.microsoft.com/office/drawing/2014/main" id="{54FB5F46-6E5B-4CCE-B6F0-B2F0A3719756}"/>
              </a:ext>
            </a:extLst>
          </p:cNvPr>
          <p:cNvGrpSpPr/>
          <p:nvPr userDrawn="1"/>
        </p:nvGrpSpPr>
        <p:grpSpPr>
          <a:xfrm>
            <a:off x="0" y="-1"/>
            <a:ext cx="9144000" cy="586741"/>
            <a:chOff x="0" y="-1"/>
            <a:chExt cx="12192000" cy="1016001"/>
          </a:xfrm>
        </p:grpSpPr>
        <p:sp>
          <p:nvSpPr>
            <p:cNvPr id="7" name="等腰三角形 6">
              <a:extLst>
                <a:ext uri="{FF2B5EF4-FFF2-40B4-BE49-F238E27FC236}">
                  <a16:creationId xmlns:a16="http://schemas.microsoft.com/office/drawing/2014/main" id="{5BFBEC5F-C0EF-4A6D-ADDC-F2B80E2423B9}"/>
                </a:ext>
              </a:extLst>
            </p:cNvPr>
            <p:cNvSpPr/>
            <p:nvPr/>
          </p:nvSpPr>
          <p:spPr>
            <a:xfrm rot="10800000">
              <a:off x="0" y="0"/>
              <a:ext cx="12192000" cy="1016000"/>
            </a:xfrm>
            <a:prstGeom prst="triangle">
              <a:avLst/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  <p:sp>
          <p:nvSpPr>
            <p:cNvPr id="8" name="等腰三角形 7">
              <a:extLst>
                <a:ext uri="{FF2B5EF4-FFF2-40B4-BE49-F238E27FC236}">
                  <a16:creationId xmlns:a16="http://schemas.microsoft.com/office/drawing/2014/main" id="{BEE32A30-280B-428F-94CF-9D283473796C}"/>
                </a:ext>
              </a:extLst>
            </p:cNvPr>
            <p:cNvSpPr/>
            <p:nvPr/>
          </p:nvSpPr>
          <p:spPr>
            <a:xfrm rot="10800000">
              <a:off x="0" y="0"/>
              <a:ext cx="4602480" cy="1016000"/>
            </a:xfrm>
            <a:prstGeom prst="triangle">
              <a:avLst/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  <p:sp>
          <p:nvSpPr>
            <p:cNvPr id="9" name="等腰三角形 8">
              <a:extLst>
                <a:ext uri="{FF2B5EF4-FFF2-40B4-BE49-F238E27FC236}">
                  <a16:creationId xmlns:a16="http://schemas.microsoft.com/office/drawing/2014/main" id="{C1A15250-43BA-4C1B-A08C-6BCE47FCC256}"/>
                </a:ext>
              </a:extLst>
            </p:cNvPr>
            <p:cNvSpPr/>
            <p:nvPr/>
          </p:nvSpPr>
          <p:spPr>
            <a:xfrm rot="10800000">
              <a:off x="7589520" y="0"/>
              <a:ext cx="4602480" cy="1016000"/>
            </a:xfrm>
            <a:prstGeom prst="triangle">
              <a:avLst>
                <a:gd name="adj" fmla="val 0"/>
              </a:avLst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  <p:sp>
          <p:nvSpPr>
            <p:cNvPr id="10" name="等腰三角形 9">
              <a:extLst>
                <a:ext uri="{FF2B5EF4-FFF2-40B4-BE49-F238E27FC236}">
                  <a16:creationId xmlns:a16="http://schemas.microsoft.com/office/drawing/2014/main" id="{BD48D10A-D99B-44F6-B799-0F1D73F3C9F5}"/>
                </a:ext>
              </a:extLst>
            </p:cNvPr>
            <p:cNvSpPr/>
            <p:nvPr/>
          </p:nvSpPr>
          <p:spPr>
            <a:xfrm rot="10800000">
              <a:off x="4602480" y="-1"/>
              <a:ext cx="4592320" cy="1016001"/>
            </a:xfrm>
            <a:prstGeom prst="triangle">
              <a:avLst>
                <a:gd name="adj" fmla="val 68318"/>
              </a:avLst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</p:grpSp>
      <p:grpSp>
        <p:nvGrpSpPr>
          <p:cNvPr id="11" name="组合 10">
            <a:extLst>
              <a:ext uri="{FF2B5EF4-FFF2-40B4-BE49-F238E27FC236}">
                <a16:creationId xmlns:a16="http://schemas.microsoft.com/office/drawing/2014/main" id="{DF705B4B-6402-41F4-BA56-C33BC3422B7A}"/>
              </a:ext>
            </a:extLst>
          </p:cNvPr>
          <p:cNvGrpSpPr/>
          <p:nvPr userDrawn="1"/>
        </p:nvGrpSpPr>
        <p:grpSpPr>
          <a:xfrm flipH="1" flipV="1">
            <a:off x="0" y="4565441"/>
            <a:ext cx="9144000" cy="586741"/>
            <a:chOff x="0" y="-1"/>
            <a:chExt cx="12192000" cy="1016001"/>
          </a:xfrm>
        </p:grpSpPr>
        <p:sp>
          <p:nvSpPr>
            <p:cNvPr id="12" name="等腰三角形 11">
              <a:extLst>
                <a:ext uri="{FF2B5EF4-FFF2-40B4-BE49-F238E27FC236}">
                  <a16:creationId xmlns:a16="http://schemas.microsoft.com/office/drawing/2014/main" id="{6725E015-78DA-49AF-9E69-0A0538B7E81F}"/>
                </a:ext>
              </a:extLst>
            </p:cNvPr>
            <p:cNvSpPr/>
            <p:nvPr/>
          </p:nvSpPr>
          <p:spPr>
            <a:xfrm rot="10800000">
              <a:off x="0" y="0"/>
              <a:ext cx="12192000" cy="1016000"/>
            </a:xfrm>
            <a:prstGeom prst="triangle">
              <a:avLst/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  <p:sp>
          <p:nvSpPr>
            <p:cNvPr id="13" name="等腰三角形 12">
              <a:extLst>
                <a:ext uri="{FF2B5EF4-FFF2-40B4-BE49-F238E27FC236}">
                  <a16:creationId xmlns:a16="http://schemas.microsoft.com/office/drawing/2014/main" id="{08A07ACB-8C7A-4A2A-947C-9C056AE3B4C1}"/>
                </a:ext>
              </a:extLst>
            </p:cNvPr>
            <p:cNvSpPr/>
            <p:nvPr/>
          </p:nvSpPr>
          <p:spPr>
            <a:xfrm rot="10800000">
              <a:off x="0" y="0"/>
              <a:ext cx="4602480" cy="714021"/>
            </a:xfrm>
            <a:prstGeom prst="triangle">
              <a:avLst>
                <a:gd name="adj" fmla="val 100000"/>
              </a:avLst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  <p:sp>
          <p:nvSpPr>
            <p:cNvPr id="14" name="等腰三角形 13">
              <a:extLst>
                <a:ext uri="{FF2B5EF4-FFF2-40B4-BE49-F238E27FC236}">
                  <a16:creationId xmlns:a16="http://schemas.microsoft.com/office/drawing/2014/main" id="{420989A0-6813-4E94-B31C-A45FD137B87B}"/>
                </a:ext>
              </a:extLst>
            </p:cNvPr>
            <p:cNvSpPr/>
            <p:nvPr/>
          </p:nvSpPr>
          <p:spPr>
            <a:xfrm rot="10800000">
              <a:off x="7589520" y="0"/>
              <a:ext cx="4602480" cy="1016000"/>
            </a:xfrm>
            <a:prstGeom prst="triangle">
              <a:avLst>
                <a:gd name="adj" fmla="val 0"/>
              </a:avLst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  <p:sp>
          <p:nvSpPr>
            <p:cNvPr id="15" name="等腰三角形 14">
              <a:extLst>
                <a:ext uri="{FF2B5EF4-FFF2-40B4-BE49-F238E27FC236}">
                  <a16:creationId xmlns:a16="http://schemas.microsoft.com/office/drawing/2014/main" id="{16F5082F-FE82-4E3D-943E-16058E13B94D}"/>
                </a:ext>
              </a:extLst>
            </p:cNvPr>
            <p:cNvSpPr/>
            <p:nvPr/>
          </p:nvSpPr>
          <p:spPr>
            <a:xfrm rot="10800000">
              <a:off x="4602480" y="-1"/>
              <a:ext cx="4592320" cy="1016001"/>
            </a:xfrm>
            <a:prstGeom prst="triangle">
              <a:avLst>
                <a:gd name="adj" fmla="val 68318"/>
              </a:avLst>
            </a:prstGeom>
            <a:solidFill>
              <a:schemeClr val="accent3">
                <a:alpha val="8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050">
                <a:solidFill>
                  <a:prstClr val="white"/>
                </a:solidFill>
              </a:endParaRPr>
            </a:p>
          </p:txBody>
        </p:sp>
      </p:grpSp>
      <p:sp>
        <p:nvSpPr>
          <p:cNvPr id="17" name="标题 1"/>
          <p:cNvSpPr>
            <a:spLocks noGrp="1"/>
          </p:cNvSpPr>
          <p:nvPr>
            <p:ph type="title" hasCustomPrompt="1"/>
          </p:nvPr>
        </p:nvSpPr>
        <p:spPr>
          <a:xfrm>
            <a:off x="1656565" y="1586156"/>
            <a:ext cx="4281247" cy="492594"/>
          </a:xfrm>
        </p:spPr>
        <p:txBody>
          <a:bodyPr anchor="ctr">
            <a:normAutofit/>
          </a:bodyPr>
          <a:lstStyle>
            <a:lvl1pPr algn="l">
              <a:defRPr sz="1800" b="1">
                <a:solidFill>
                  <a:schemeClr val="tx1"/>
                </a:solidFill>
              </a:defRPr>
            </a:lvl1pPr>
          </a:lstStyle>
          <a:p>
            <a:r>
              <a:rPr lang="zh-CN" altLang="en-US" dirty="0"/>
              <a:t> </a:t>
            </a:r>
          </a:p>
        </p:txBody>
      </p:sp>
      <p:sp>
        <p:nvSpPr>
          <p:cNvPr id="18" name="文本占位符 2"/>
          <p:cNvSpPr>
            <a:spLocks noGrp="1"/>
          </p:cNvSpPr>
          <p:nvPr>
            <p:ph type="body" idx="1" hasCustomPrompt="1"/>
          </p:nvPr>
        </p:nvSpPr>
        <p:spPr>
          <a:xfrm>
            <a:off x="1656565" y="2146273"/>
            <a:ext cx="4281247" cy="761717"/>
          </a:xfrm>
        </p:spPr>
        <p:txBody>
          <a:bodyPr anchor="t">
            <a:normAutofit/>
          </a:bodyPr>
          <a:lstStyle>
            <a:lvl1pPr marL="0" indent="0" algn="l">
              <a:buNone/>
              <a:defRPr sz="825">
                <a:solidFill>
                  <a:schemeClr val="tx1"/>
                </a:solidFill>
              </a:defRPr>
            </a:lvl1pPr>
            <a:lvl2pPr marL="342884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766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649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532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4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297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18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064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 dirty="0"/>
              <a:t> 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32420" y="4739833"/>
            <a:ext cx="815387" cy="309847"/>
          </a:xfrm>
          <a:prstGeom prst="rect">
            <a:avLst/>
          </a:prstGeom>
        </p:spPr>
      </p:pic>
      <p:sp>
        <p:nvSpPr>
          <p:cNvPr id="1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9066358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 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quarter" idx="10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zh-CN" altLang="en-US" dirty="0"/>
              <a:t>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9739126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 </a:t>
            </a:r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6569796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8228331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结尾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 hasCustomPrompt="1"/>
          </p:nvPr>
        </p:nvSpPr>
        <p:spPr>
          <a:xfrm>
            <a:off x="502444" y="2016953"/>
            <a:ext cx="8137922" cy="491838"/>
          </a:xfrm>
        </p:spPr>
        <p:txBody>
          <a:bodyPr anchor="ctr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zh-CN" altLang="en-US" dirty="0"/>
              <a:t> </a:t>
            </a:r>
          </a:p>
        </p:txBody>
      </p:sp>
      <p:sp>
        <p:nvSpPr>
          <p:cNvPr id="3" name="文本占位符 62"/>
          <p:cNvSpPr>
            <a:spLocks noGrp="1"/>
          </p:cNvSpPr>
          <p:nvPr>
            <p:ph type="body" sz="quarter" idx="17" hasCustomPrompt="1"/>
          </p:nvPr>
        </p:nvSpPr>
        <p:spPr>
          <a:xfrm>
            <a:off x="502444" y="2720634"/>
            <a:ext cx="8137922" cy="233153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bg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zh-CN" altLang="en-US" dirty="0"/>
              <a:t> </a:t>
            </a:r>
            <a:endParaRPr lang="en-US" altLang="zh-CN" dirty="0"/>
          </a:p>
        </p:txBody>
      </p:sp>
      <p:sp>
        <p:nvSpPr>
          <p:cNvPr id="4" name="文本占位符 62"/>
          <p:cNvSpPr>
            <a:spLocks noGrp="1"/>
          </p:cNvSpPr>
          <p:nvPr>
            <p:ph type="body" sz="quarter" idx="18" hasCustomPrompt="1"/>
          </p:nvPr>
        </p:nvSpPr>
        <p:spPr>
          <a:xfrm>
            <a:off x="502444" y="2957359"/>
            <a:ext cx="8137922" cy="233153"/>
          </a:xfrm>
        </p:spPr>
        <p:txBody>
          <a:bodyPr vert="horz" lIns="91440" tIns="45720" rIns="91440" bIns="45720" rtlCol="0">
            <a:normAutofit/>
          </a:bodyPr>
          <a:lstStyle>
            <a:lvl1pPr marL="0" indent="0" algn="ctr">
              <a:buNone/>
              <a:defRPr lang="zh-CN" altLang="en-US" sz="1200" smtClean="0">
                <a:solidFill>
                  <a:schemeClr val="bg1"/>
                </a:solidFill>
              </a:defRPr>
            </a:lvl1pPr>
            <a:lvl2pPr>
              <a:defRPr lang="zh-CN" altLang="en-US" sz="1500" smtClean="0"/>
            </a:lvl2pPr>
            <a:lvl3pPr>
              <a:defRPr lang="zh-CN" altLang="en-US" sz="1350" smtClean="0"/>
            </a:lvl3pPr>
            <a:lvl4pPr>
              <a:defRPr lang="zh-CN" altLang="en-US" sz="1200" smtClean="0"/>
            </a:lvl4pPr>
            <a:lvl5pPr>
              <a:defRPr lang="zh-CN" altLang="en-US" sz="1200"/>
            </a:lvl5pPr>
          </a:lstStyle>
          <a:p>
            <a:pPr marL="171442" marR="0" lvl="0" indent="-171442" fontAlgn="auto">
              <a:spcAft>
                <a:spcPts val="0"/>
              </a:spcAft>
              <a:buClrTx/>
              <a:buSzTx/>
              <a:tabLst/>
            </a:pPr>
            <a:r>
              <a:rPr lang="zh-CN" altLang="en-US" dirty="0"/>
              <a:t> </a:t>
            </a:r>
            <a:endParaRPr lang="en-US" altLang="zh-CN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bg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3247849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zh-CN" altLang="en-US" dirty="0"/>
              <a:t>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7142221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3985962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27231354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Google Shape;17;p4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8" name="Google Shape;18;p4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32FEF0-F2A7-4444-86D5-CADBDDB909C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3242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647705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6A5B0E-7ACC-4132-8655-A3722EEE349E}" type="slidenum">
              <a:rPr lang="en-IN" smtClean="0"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467187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7818891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ctr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8E536B9-201D-4508-8691-7EDF5643E86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4209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">
  <p:cSld name="TABLE OF CONTENTS ">
    <p:bg>
      <p:bgPr>
        <a:gradFill>
          <a:gsLst>
            <a:gs pos="0">
              <a:srgbClr val="89FBDE"/>
            </a:gs>
            <a:gs pos="100000">
              <a:srgbClr val="89FBDE"/>
            </a:gs>
          </a:gsLst>
          <a:lin ang="5400700" scaled="0"/>
        </a:grad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3"/>
          <p:cNvSpPr/>
          <p:nvPr/>
        </p:nvSpPr>
        <p:spPr>
          <a:xfrm>
            <a:off x="2657725" y="713850"/>
            <a:ext cx="6229200" cy="3715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80" name="Google Shape;80;p3"/>
          <p:cNvSpPr/>
          <p:nvPr/>
        </p:nvSpPr>
        <p:spPr>
          <a:xfrm rot="-1895947">
            <a:off x="7797669" y="855073"/>
            <a:ext cx="490337" cy="308095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81" name="Google Shape;81;p3"/>
          <p:cNvSpPr/>
          <p:nvPr/>
        </p:nvSpPr>
        <p:spPr>
          <a:xfrm>
            <a:off x="8729600" y="4691000"/>
            <a:ext cx="184800" cy="184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82" name="Google Shape;82;p3"/>
          <p:cNvGrpSpPr/>
          <p:nvPr/>
        </p:nvGrpSpPr>
        <p:grpSpPr>
          <a:xfrm rot="5400000">
            <a:off x="5679896" y="4114654"/>
            <a:ext cx="184813" cy="1331706"/>
            <a:chOff x="218760" y="2674535"/>
            <a:chExt cx="270036" cy="1946086"/>
          </a:xfrm>
        </p:grpSpPr>
        <p:grpSp>
          <p:nvGrpSpPr>
            <p:cNvPr id="83" name="Google Shape;83;p3"/>
            <p:cNvGrpSpPr/>
            <p:nvPr/>
          </p:nvGrpSpPr>
          <p:grpSpPr>
            <a:xfrm>
              <a:off x="218760" y="4365585"/>
              <a:ext cx="270036" cy="255036"/>
              <a:chOff x="5499125" y="4350600"/>
              <a:chExt cx="444650" cy="419950"/>
            </a:xfrm>
          </p:grpSpPr>
          <p:sp>
            <p:nvSpPr>
              <p:cNvPr id="84" name="Google Shape;84;p3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85" name="Google Shape;85;p3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86" name="Google Shape;86;p3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87" name="Google Shape;87;p3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88" name="Google Shape;88;p3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89" name="Google Shape;89;p3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0" name="Google Shape;90;p3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1" name="Google Shape;91;p3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2" name="Google Shape;92;p3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93" name="Google Shape;93;p3"/>
            <p:cNvGrpSpPr/>
            <p:nvPr/>
          </p:nvGrpSpPr>
          <p:grpSpPr>
            <a:xfrm>
              <a:off x="218760" y="4026410"/>
              <a:ext cx="270036" cy="255036"/>
              <a:chOff x="5499125" y="4350600"/>
              <a:chExt cx="444650" cy="419950"/>
            </a:xfrm>
          </p:grpSpPr>
          <p:sp>
            <p:nvSpPr>
              <p:cNvPr id="94" name="Google Shape;94;p3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5" name="Google Shape;95;p3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6" name="Google Shape;96;p3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7" name="Google Shape;97;p3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8" name="Google Shape;98;p3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99" name="Google Shape;99;p3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0" name="Google Shape;100;p3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1" name="Google Shape;101;p3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2" name="Google Shape;102;p3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03" name="Google Shape;103;p3"/>
            <p:cNvGrpSpPr/>
            <p:nvPr/>
          </p:nvGrpSpPr>
          <p:grpSpPr>
            <a:xfrm>
              <a:off x="218760" y="3692060"/>
              <a:ext cx="270036" cy="255036"/>
              <a:chOff x="5499125" y="4350600"/>
              <a:chExt cx="444650" cy="419950"/>
            </a:xfrm>
          </p:grpSpPr>
          <p:sp>
            <p:nvSpPr>
              <p:cNvPr id="104" name="Google Shape;104;p3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5" name="Google Shape;105;p3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6" name="Google Shape;106;p3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7" name="Google Shape;107;p3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8" name="Google Shape;108;p3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09" name="Google Shape;109;p3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0" name="Google Shape;110;p3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1" name="Google Shape;111;p3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2" name="Google Shape;112;p3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13" name="Google Shape;113;p3"/>
            <p:cNvGrpSpPr/>
            <p:nvPr/>
          </p:nvGrpSpPr>
          <p:grpSpPr>
            <a:xfrm>
              <a:off x="218760" y="3352885"/>
              <a:ext cx="270036" cy="255036"/>
              <a:chOff x="5499125" y="4350600"/>
              <a:chExt cx="444650" cy="419950"/>
            </a:xfrm>
          </p:grpSpPr>
          <p:sp>
            <p:nvSpPr>
              <p:cNvPr id="114" name="Google Shape;114;p3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5" name="Google Shape;115;p3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6" name="Google Shape;116;p3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7" name="Google Shape;117;p3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8" name="Google Shape;118;p3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19" name="Google Shape;119;p3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0" name="Google Shape;120;p3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1" name="Google Shape;121;p3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2" name="Google Shape;122;p3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23" name="Google Shape;123;p3"/>
            <p:cNvGrpSpPr/>
            <p:nvPr/>
          </p:nvGrpSpPr>
          <p:grpSpPr>
            <a:xfrm>
              <a:off x="218760" y="3013710"/>
              <a:ext cx="270036" cy="255036"/>
              <a:chOff x="5499125" y="4350600"/>
              <a:chExt cx="444650" cy="419950"/>
            </a:xfrm>
          </p:grpSpPr>
          <p:sp>
            <p:nvSpPr>
              <p:cNvPr id="124" name="Google Shape;124;p3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5" name="Google Shape;125;p3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6" name="Google Shape;126;p3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7" name="Google Shape;127;p3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8" name="Google Shape;128;p3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29" name="Google Shape;129;p3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0" name="Google Shape;130;p3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1" name="Google Shape;131;p3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2" name="Google Shape;132;p3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33" name="Google Shape;133;p3"/>
            <p:cNvGrpSpPr/>
            <p:nvPr/>
          </p:nvGrpSpPr>
          <p:grpSpPr>
            <a:xfrm>
              <a:off x="218760" y="2674535"/>
              <a:ext cx="270036" cy="255036"/>
              <a:chOff x="5499125" y="4350600"/>
              <a:chExt cx="444650" cy="419950"/>
            </a:xfrm>
          </p:grpSpPr>
          <p:sp>
            <p:nvSpPr>
              <p:cNvPr id="134" name="Google Shape;134;p3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5" name="Google Shape;135;p3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6" name="Google Shape;136;p3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7" name="Google Shape;137;p3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8" name="Google Shape;138;p3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39" name="Google Shape;139;p3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40" name="Google Shape;140;p3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41" name="Google Shape;141;p3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42" name="Google Shape;142;p3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434343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</p:grpSp>
      <p:sp>
        <p:nvSpPr>
          <p:cNvPr id="143" name="Google Shape;143;p3"/>
          <p:cNvSpPr txBox="1">
            <a:spLocks noGrp="1"/>
          </p:cNvSpPr>
          <p:nvPr>
            <p:ph type="ctrTitle"/>
          </p:nvPr>
        </p:nvSpPr>
        <p:spPr>
          <a:xfrm>
            <a:off x="3058707" y="1593850"/>
            <a:ext cx="2629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44" name="Google Shape;144;p3"/>
          <p:cNvSpPr txBox="1">
            <a:spLocks noGrp="1"/>
          </p:cNvSpPr>
          <p:nvPr>
            <p:ph type="subTitle" idx="1"/>
          </p:nvPr>
        </p:nvSpPr>
        <p:spPr>
          <a:xfrm>
            <a:off x="3781407" y="2055313"/>
            <a:ext cx="19065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45" name="Google Shape;145;p3"/>
          <p:cNvSpPr txBox="1">
            <a:spLocks noGrp="1"/>
          </p:cNvSpPr>
          <p:nvPr>
            <p:ph type="ctrTitle" idx="2"/>
          </p:nvPr>
        </p:nvSpPr>
        <p:spPr>
          <a:xfrm>
            <a:off x="3058707" y="3140975"/>
            <a:ext cx="2629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46" name="Google Shape;146;p3"/>
          <p:cNvSpPr txBox="1">
            <a:spLocks noGrp="1"/>
          </p:cNvSpPr>
          <p:nvPr>
            <p:ph type="subTitle" idx="3"/>
          </p:nvPr>
        </p:nvSpPr>
        <p:spPr>
          <a:xfrm>
            <a:off x="3781407" y="3602438"/>
            <a:ext cx="19065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47" name="Google Shape;147;p3"/>
          <p:cNvSpPr txBox="1">
            <a:spLocks noGrp="1"/>
          </p:cNvSpPr>
          <p:nvPr>
            <p:ph type="ctrTitle" idx="4"/>
          </p:nvPr>
        </p:nvSpPr>
        <p:spPr>
          <a:xfrm>
            <a:off x="5856732" y="1593850"/>
            <a:ext cx="2629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48" name="Google Shape;148;p3"/>
          <p:cNvSpPr txBox="1">
            <a:spLocks noGrp="1"/>
          </p:cNvSpPr>
          <p:nvPr>
            <p:ph type="subTitle" idx="5"/>
          </p:nvPr>
        </p:nvSpPr>
        <p:spPr>
          <a:xfrm>
            <a:off x="5856732" y="2055313"/>
            <a:ext cx="19065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49" name="Google Shape;149;p3"/>
          <p:cNvSpPr txBox="1">
            <a:spLocks noGrp="1"/>
          </p:cNvSpPr>
          <p:nvPr>
            <p:ph type="ctrTitle" idx="6"/>
          </p:nvPr>
        </p:nvSpPr>
        <p:spPr>
          <a:xfrm>
            <a:off x="5856732" y="3140975"/>
            <a:ext cx="2629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150" name="Google Shape;150;p3"/>
          <p:cNvSpPr txBox="1">
            <a:spLocks noGrp="1"/>
          </p:cNvSpPr>
          <p:nvPr>
            <p:ph type="subTitle" idx="7"/>
          </p:nvPr>
        </p:nvSpPr>
        <p:spPr>
          <a:xfrm>
            <a:off x="5856732" y="3602438"/>
            <a:ext cx="19065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51" name="Google Shape;151;p3"/>
          <p:cNvSpPr txBox="1">
            <a:spLocks noGrp="1"/>
          </p:cNvSpPr>
          <p:nvPr>
            <p:ph type="title" idx="8" hasCustomPrompt="1"/>
          </p:nvPr>
        </p:nvSpPr>
        <p:spPr>
          <a:xfrm>
            <a:off x="3934107" y="1173275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152" name="Google Shape;152;p3"/>
          <p:cNvSpPr txBox="1">
            <a:spLocks noGrp="1"/>
          </p:cNvSpPr>
          <p:nvPr>
            <p:ph type="title" idx="9" hasCustomPrompt="1"/>
          </p:nvPr>
        </p:nvSpPr>
        <p:spPr>
          <a:xfrm>
            <a:off x="3934107" y="2720400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153" name="Google Shape;153;p3"/>
          <p:cNvSpPr txBox="1">
            <a:spLocks noGrp="1"/>
          </p:cNvSpPr>
          <p:nvPr>
            <p:ph type="title" idx="13" hasCustomPrompt="1"/>
          </p:nvPr>
        </p:nvSpPr>
        <p:spPr>
          <a:xfrm>
            <a:off x="5856732" y="1173275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154" name="Google Shape;154;p3"/>
          <p:cNvSpPr txBox="1">
            <a:spLocks noGrp="1"/>
          </p:cNvSpPr>
          <p:nvPr>
            <p:ph type="title" idx="14" hasCustomPrompt="1"/>
          </p:nvPr>
        </p:nvSpPr>
        <p:spPr>
          <a:xfrm>
            <a:off x="5856732" y="2720400"/>
            <a:ext cx="1753800" cy="57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4800"/>
              <a:buFont typeface="Fira Sans Extra Condensed Medium"/>
              <a:buNone/>
              <a:defRPr sz="4800">
                <a:latin typeface="Fira Sans Extra Condensed Medium"/>
                <a:ea typeface="Fira Sans Extra Condensed Medium"/>
                <a:cs typeface="Fira Sans Extra Condensed Medium"/>
                <a:sym typeface="Fira Sans Extra Condensed Medium"/>
              </a:defRPr>
            </a:lvl9pPr>
          </a:lstStyle>
          <a:p>
            <a:r>
              <a:t>xx%</a:t>
            </a:r>
          </a:p>
        </p:txBody>
      </p:sp>
      <p:sp>
        <p:nvSpPr>
          <p:cNvPr id="155" name="Google Shape;155;p3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56" name="Google Shape;156;p3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57" name="Google Shape;157;p3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59" name="Google Shape;159;p3"/>
          <p:cNvSpPr txBox="1">
            <a:spLocks noGrp="1"/>
          </p:cNvSpPr>
          <p:nvPr>
            <p:ph type="ctrTitle" idx="15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60" name="Slide Number Placeholder 5">
            <a:extLst>
              <a:ext uri="{FF2B5EF4-FFF2-40B4-BE49-F238E27FC236}">
                <a16:creationId xmlns:a16="http://schemas.microsoft.com/office/drawing/2014/main" id="{6C232BB8-70F7-4595-A65F-DE8D24A289BE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328915381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 2">
  <p:cSld name="TITLE + TEXT 2">
    <p:bg>
      <p:bgPr>
        <a:gradFill>
          <a:gsLst>
            <a:gs pos="0">
              <a:srgbClr val="89FBDE"/>
            </a:gs>
            <a:gs pos="100000">
              <a:srgbClr val="F9F586"/>
            </a:gs>
          </a:gsLst>
          <a:lin ang="5400700" scaled="0"/>
        </a:gradFill>
        <a:effectLst/>
      </p:bgPr>
    </p:bg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5"/>
          <p:cNvSpPr/>
          <p:nvPr/>
        </p:nvSpPr>
        <p:spPr>
          <a:xfrm>
            <a:off x="2657725" y="713850"/>
            <a:ext cx="6229200" cy="3715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32" name="Google Shape;232;p5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33" name="Google Shape;233;p5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34" name="Google Shape;234;p5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35" name="Google Shape;235;p5"/>
          <p:cNvSpPr txBox="1">
            <a:spLocks noGrp="1"/>
          </p:cNvSpPr>
          <p:nvPr>
            <p:ph type="ctrTitle"/>
          </p:nvPr>
        </p:nvSpPr>
        <p:spPr>
          <a:xfrm flipH="1">
            <a:off x="2223039" y="2236500"/>
            <a:ext cx="2437500" cy="670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236" name="Google Shape;236;p5"/>
          <p:cNvSpPr txBox="1">
            <a:spLocks noGrp="1"/>
          </p:cNvSpPr>
          <p:nvPr>
            <p:ph type="subTitle" idx="1"/>
          </p:nvPr>
        </p:nvSpPr>
        <p:spPr>
          <a:xfrm>
            <a:off x="4929563" y="2387850"/>
            <a:ext cx="2262000" cy="367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238" name="Google Shape;238;p5"/>
          <p:cNvSpPr txBox="1">
            <a:spLocks noGrp="1"/>
          </p:cNvSpPr>
          <p:nvPr>
            <p:ph type="ctrTitle" idx="2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58B68E-B4DA-4398-B8C3-830D5947C1E2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22760583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">
  <p:cSld name="THREE COLUMNS 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6"/>
          <p:cNvSpPr/>
          <p:nvPr/>
        </p:nvSpPr>
        <p:spPr>
          <a:xfrm>
            <a:off x="200575" y="3600050"/>
            <a:ext cx="8686500" cy="13167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1" name="Google Shape;241;p6"/>
          <p:cNvSpPr/>
          <p:nvPr/>
        </p:nvSpPr>
        <p:spPr>
          <a:xfrm rot="-9899996">
            <a:off x="1608608" y="2793497"/>
            <a:ext cx="1399635" cy="967951"/>
          </a:xfrm>
          <a:custGeom>
            <a:avLst/>
            <a:gdLst/>
            <a:ahLst/>
            <a:cxnLst/>
            <a:rect l="l" t="t" r="r" b="b"/>
            <a:pathLst>
              <a:path w="38142" h="26378" extrusionOk="0">
                <a:moveTo>
                  <a:pt x="19287" y="1"/>
                </a:moveTo>
                <a:cubicBezTo>
                  <a:pt x="8870" y="1"/>
                  <a:pt x="1019" y="5691"/>
                  <a:pt x="0" y="15618"/>
                </a:cubicBezTo>
                <a:cubicBezTo>
                  <a:pt x="0" y="17796"/>
                  <a:pt x="190" y="20317"/>
                  <a:pt x="727" y="22063"/>
                </a:cubicBezTo>
                <a:cubicBezTo>
                  <a:pt x="1559" y="24774"/>
                  <a:pt x="3530" y="26378"/>
                  <a:pt x="5059" y="26378"/>
                </a:cubicBezTo>
                <a:cubicBezTo>
                  <a:pt x="6194" y="26378"/>
                  <a:pt x="7083" y="25491"/>
                  <a:pt x="7083" y="23517"/>
                </a:cubicBezTo>
                <a:cubicBezTo>
                  <a:pt x="6707" y="17667"/>
                  <a:pt x="12213" y="16916"/>
                  <a:pt x="17353" y="16916"/>
                </a:cubicBezTo>
                <a:cubicBezTo>
                  <a:pt x="18241" y="16916"/>
                  <a:pt x="19117" y="16937"/>
                  <a:pt x="19953" y="16960"/>
                </a:cubicBezTo>
                <a:cubicBezTo>
                  <a:pt x="20784" y="16981"/>
                  <a:pt x="21576" y="17004"/>
                  <a:pt x="22293" y="17004"/>
                </a:cubicBezTo>
                <a:cubicBezTo>
                  <a:pt x="22697" y="17004"/>
                  <a:pt x="23078" y="16998"/>
                  <a:pt x="23428" y="16977"/>
                </a:cubicBezTo>
                <a:cubicBezTo>
                  <a:pt x="38142" y="16434"/>
                  <a:pt x="31602" y="846"/>
                  <a:pt x="21522" y="89"/>
                </a:cubicBezTo>
                <a:cubicBezTo>
                  <a:pt x="20764" y="31"/>
                  <a:pt x="20017" y="1"/>
                  <a:pt x="19287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2" name="Google Shape;242;p6"/>
          <p:cNvSpPr/>
          <p:nvPr/>
        </p:nvSpPr>
        <p:spPr>
          <a:xfrm>
            <a:off x="4226184" y="3696358"/>
            <a:ext cx="366004" cy="246614"/>
          </a:xfrm>
          <a:custGeom>
            <a:avLst/>
            <a:gdLst/>
            <a:ahLst/>
            <a:cxnLst/>
            <a:rect l="l" t="t" r="r" b="b"/>
            <a:pathLst>
              <a:path w="9344" h="6296" extrusionOk="0">
                <a:moveTo>
                  <a:pt x="6153" y="0"/>
                </a:moveTo>
                <a:cubicBezTo>
                  <a:pt x="5508" y="0"/>
                  <a:pt x="4822" y="102"/>
                  <a:pt x="4234" y="279"/>
                </a:cubicBezTo>
                <a:cubicBezTo>
                  <a:pt x="1" y="795"/>
                  <a:pt x="1112" y="6295"/>
                  <a:pt x="4560" y="6295"/>
                </a:cubicBezTo>
                <a:cubicBezTo>
                  <a:pt x="4985" y="6295"/>
                  <a:pt x="5447" y="6214"/>
                  <a:pt x="5936" y="6027"/>
                </a:cubicBezTo>
                <a:cubicBezTo>
                  <a:pt x="7428" y="5599"/>
                  <a:pt x="9344" y="2195"/>
                  <a:pt x="8276" y="703"/>
                </a:cubicBezTo>
                <a:cubicBezTo>
                  <a:pt x="7903" y="204"/>
                  <a:pt x="7067" y="0"/>
                  <a:pt x="6153" y="0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3" name="Google Shape;243;p6"/>
          <p:cNvSpPr txBox="1">
            <a:spLocks noGrp="1"/>
          </p:cNvSpPr>
          <p:nvPr>
            <p:ph type="ctrTitle"/>
          </p:nvPr>
        </p:nvSpPr>
        <p:spPr>
          <a:xfrm>
            <a:off x="1657826" y="3712000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44" name="Google Shape;244;p6"/>
          <p:cNvSpPr txBox="1">
            <a:spLocks noGrp="1"/>
          </p:cNvSpPr>
          <p:nvPr>
            <p:ph type="subTitle" idx="1"/>
          </p:nvPr>
        </p:nvSpPr>
        <p:spPr>
          <a:xfrm>
            <a:off x="1657790" y="4173450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245" name="Google Shape;245;p6"/>
          <p:cNvSpPr/>
          <p:nvPr/>
        </p:nvSpPr>
        <p:spPr>
          <a:xfrm rot="9899996" flipH="1">
            <a:off x="6069098" y="2793497"/>
            <a:ext cx="1399635" cy="967951"/>
          </a:xfrm>
          <a:custGeom>
            <a:avLst/>
            <a:gdLst/>
            <a:ahLst/>
            <a:cxnLst/>
            <a:rect l="l" t="t" r="r" b="b"/>
            <a:pathLst>
              <a:path w="38142" h="26378" extrusionOk="0">
                <a:moveTo>
                  <a:pt x="19287" y="1"/>
                </a:moveTo>
                <a:cubicBezTo>
                  <a:pt x="8870" y="1"/>
                  <a:pt x="1019" y="5691"/>
                  <a:pt x="0" y="15618"/>
                </a:cubicBezTo>
                <a:cubicBezTo>
                  <a:pt x="0" y="17796"/>
                  <a:pt x="190" y="20317"/>
                  <a:pt x="727" y="22063"/>
                </a:cubicBezTo>
                <a:cubicBezTo>
                  <a:pt x="1559" y="24774"/>
                  <a:pt x="3530" y="26378"/>
                  <a:pt x="5059" y="26378"/>
                </a:cubicBezTo>
                <a:cubicBezTo>
                  <a:pt x="6194" y="26378"/>
                  <a:pt x="7083" y="25491"/>
                  <a:pt x="7083" y="23517"/>
                </a:cubicBezTo>
                <a:cubicBezTo>
                  <a:pt x="6707" y="17667"/>
                  <a:pt x="12213" y="16916"/>
                  <a:pt x="17353" y="16916"/>
                </a:cubicBezTo>
                <a:cubicBezTo>
                  <a:pt x="18241" y="16916"/>
                  <a:pt x="19117" y="16937"/>
                  <a:pt x="19953" y="16960"/>
                </a:cubicBezTo>
                <a:cubicBezTo>
                  <a:pt x="20784" y="16981"/>
                  <a:pt x="21576" y="17004"/>
                  <a:pt x="22293" y="17004"/>
                </a:cubicBezTo>
                <a:cubicBezTo>
                  <a:pt x="22697" y="17004"/>
                  <a:pt x="23078" y="16998"/>
                  <a:pt x="23428" y="16977"/>
                </a:cubicBezTo>
                <a:cubicBezTo>
                  <a:pt x="38142" y="16434"/>
                  <a:pt x="31602" y="846"/>
                  <a:pt x="21522" y="89"/>
                </a:cubicBezTo>
                <a:cubicBezTo>
                  <a:pt x="20764" y="31"/>
                  <a:pt x="20017" y="1"/>
                  <a:pt x="19287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6" name="Google Shape;246;p6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7" name="Google Shape;247;p6"/>
          <p:cNvSpPr/>
          <p:nvPr/>
        </p:nvSpPr>
        <p:spPr>
          <a:xfrm>
            <a:off x="3898039" y="2997646"/>
            <a:ext cx="1399621" cy="967941"/>
          </a:xfrm>
          <a:custGeom>
            <a:avLst/>
            <a:gdLst/>
            <a:ahLst/>
            <a:cxnLst/>
            <a:rect l="l" t="t" r="r" b="b"/>
            <a:pathLst>
              <a:path w="38142" h="26378" extrusionOk="0">
                <a:moveTo>
                  <a:pt x="19287" y="1"/>
                </a:moveTo>
                <a:cubicBezTo>
                  <a:pt x="8870" y="1"/>
                  <a:pt x="1019" y="5691"/>
                  <a:pt x="0" y="15618"/>
                </a:cubicBezTo>
                <a:cubicBezTo>
                  <a:pt x="0" y="17796"/>
                  <a:pt x="190" y="20317"/>
                  <a:pt x="727" y="22063"/>
                </a:cubicBezTo>
                <a:cubicBezTo>
                  <a:pt x="1559" y="24774"/>
                  <a:pt x="3530" y="26378"/>
                  <a:pt x="5059" y="26378"/>
                </a:cubicBezTo>
                <a:cubicBezTo>
                  <a:pt x="6194" y="26378"/>
                  <a:pt x="7083" y="25491"/>
                  <a:pt x="7083" y="23517"/>
                </a:cubicBezTo>
                <a:cubicBezTo>
                  <a:pt x="6707" y="17667"/>
                  <a:pt x="12213" y="16916"/>
                  <a:pt x="17353" y="16916"/>
                </a:cubicBezTo>
                <a:cubicBezTo>
                  <a:pt x="18241" y="16916"/>
                  <a:pt x="19117" y="16937"/>
                  <a:pt x="19953" y="16960"/>
                </a:cubicBezTo>
                <a:cubicBezTo>
                  <a:pt x="20784" y="16981"/>
                  <a:pt x="21576" y="17004"/>
                  <a:pt x="22293" y="17004"/>
                </a:cubicBezTo>
                <a:cubicBezTo>
                  <a:pt x="22697" y="17004"/>
                  <a:pt x="23078" y="16998"/>
                  <a:pt x="23428" y="16977"/>
                </a:cubicBezTo>
                <a:cubicBezTo>
                  <a:pt x="38142" y="16434"/>
                  <a:pt x="31602" y="846"/>
                  <a:pt x="21522" y="89"/>
                </a:cubicBezTo>
                <a:cubicBezTo>
                  <a:pt x="20764" y="31"/>
                  <a:pt x="20017" y="1"/>
                  <a:pt x="19287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48" name="Google Shape;248;p6"/>
          <p:cNvSpPr txBox="1">
            <a:spLocks noGrp="1"/>
          </p:cNvSpPr>
          <p:nvPr>
            <p:ph type="ctrTitle" idx="2"/>
          </p:nvPr>
        </p:nvSpPr>
        <p:spPr>
          <a:xfrm>
            <a:off x="3758676" y="3712000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49" name="Google Shape;249;p6"/>
          <p:cNvSpPr txBox="1">
            <a:spLocks noGrp="1"/>
          </p:cNvSpPr>
          <p:nvPr>
            <p:ph type="subTitle" idx="3"/>
          </p:nvPr>
        </p:nvSpPr>
        <p:spPr>
          <a:xfrm>
            <a:off x="3758640" y="4173450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250" name="Google Shape;250;p6"/>
          <p:cNvSpPr txBox="1">
            <a:spLocks noGrp="1"/>
          </p:cNvSpPr>
          <p:nvPr>
            <p:ph type="ctrTitle" idx="4"/>
          </p:nvPr>
        </p:nvSpPr>
        <p:spPr>
          <a:xfrm>
            <a:off x="5916001" y="3712000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51" name="Google Shape;251;p6"/>
          <p:cNvSpPr txBox="1">
            <a:spLocks noGrp="1"/>
          </p:cNvSpPr>
          <p:nvPr>
            <p:ph type="subTitle" idx="5"/>
          </p:nvPr>
        </p:nvSpPr>
        <p:spPr>
          <a:xfrm>
            <a:off x="5915965" y="4173450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252" name="Google Shape;252;p6"/>
          <p:cNvSpPr/>
          <p:nvPr/>
        </p:nvSpPr>
        <p:spPr>
          <a:xfrm rot="-9501065" flipH="1">
            <a:off x="6034823" y="2708519"/>
            <a:ext cx="613583" cy="370613"/>
          </a:xfrm>
          <a:custGeom>
            <a:avLst/>
            <a:gdLst/>
            <a:ahLst/>
            <a:cxnLst/>
            <a:rect l="l" t="t" r="r" b="b"/>
            <a:pathLst>
              <a:path w="27698" h="16730" extrusionOk="0">
                <a:moveTo>
                  <a:pt x="20017" y="1"/>
                </a:moveTo>
                <a:cubicBezTo>
                  <a:pt x="16955" y="1"/>
                  <a:pt x="14089" y="2878"/>
                  <a:pt x="11850" y="5073"/>
                </a:cubicBezTo>
                <a:cubicBezTo>
                  <a:pt x="10534" y="6282"/>
                  <a:pt x="10053" y="7037"/>
                  <a:pt x="8439" y="7037"/>
                </a:cubicBezTo>
                <a:cubicBezTo>
                  <a:pt x="8259" y="7037"/>
                  <a:pt x="8068" y="7027"/>
                  <a:pt x="7858" y="7010"/>
                </a:cubicBezTo>
                <a:cubicBezTo>
                  <a:pt x="6771" y="6877"/>
                  <a:pt x="5235" y="5671"/>
                  <a:pt x="4101" y="5671"/>
                </a:cubicBezTo>
                <a:cubicBezTo>
                  <a:pt x="3883" y="5671"/>
                  <a:pt x="3679" y="5715"/>
                  <a:pt x="3499" y="5820"/>
                </a:cubicBezTo>
                <a:cubicBezTo>
                  <a:pt x="0" y="7876"/>
                  <a:pt x="6635" y="14477"/>
                  <a:pt x="9594" y="15591"/>
                </a:cubicBezTo>
                <a:cubicBezTo>
                  <a:pt x="11696" y="16386"/>
                  <a:pt x="13609" y="16730"/>
                  <a:pt x="15335" y="16730"/>
                </a:cubicBezTo>
                <a:cubicBezTo>
                  <a:pt x="19307" y="16730"/>
                  <a:pt x="22289" y="14915"/>
                  <a:pt x="24359" y="12628"/>
                </a:cubicBezTo>
                <a:cubicBezTo>
                  <a:pt x="27698" y="9564"/>
                  <a:pt x="26736" y="3908"/>
                  <a:pt x="23343" y="1258"/>
                </a:cubicBezTo>
                <a:cubicBezTo>
                  <a:pt x="22222" y="368"/>
                  <a:pt x="21107" y="1"/>
                  <a:pt x="20017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3" name="Google Shape;253;p6"/>
          <p:cNvSpPr/>
          <p:nvPr/>
        </p:nvSpPr>
        <p:spPr>
          <a:xfrm rot="-8891693">
            <a:off x="2371211" y="2902361"/>
            <a:ext cx="405945" cy="255069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4" name="Google Shape;254;p6"/>
          <p:cNvSpPr/>
          <p:nvPr/>
        </p:nvSpPr>
        <p:spPr>
          <a:xfrm>
            <a:off x="6646751" y="2993256"/>
            <a:ext cx="108694" cy="73254"/>
          </a:xfrm>
          <a:custGeom>
            <a:avLst/>
            <a:gdLst/>
            <a:ahLst/>
            <a:cxnLst/>
            <a:rect l="l" t="t" r="r" b="b"/>
            <a:pathLst>
              <a:path w="9344" h="6296" extrusionOk="0">
                <a:moveTo>
                  <a:pt x="6153" y="0"/>
                </a:moveTo>
                <a:cubicBezTo>
                  <a:pt x="5508" y="0"/>
                  <a:pt x="4822" y="102"/>
                  <a:pt x="4234" y="279"/>
                </a:cubicBezTo>
                <a:cubicBezTo>
                  <a:pt x="1" y="795"/>
                  <a:pt x="1112" y="6295"/>
                  <a:pt x="4560" y="6295"/>
                </a:cubicBezTo>
                <a:cubicBezTo>
                  <a:pt x="4985" y="6295"/>
                  <a:pt x="5447" y="6214"/>
                  <a:pt x="5936" y="6027"/>
                </a:cubicBezTo>
                <a:cubicBezTo>
                  <a:pt x="7428" y="5599"/>
                  <a:pt x="9344" y="2195"/>
                  <a:pt x="8276" y="703"/>
                </a:cubicBezTo>
                <a:cubicBezTo>
                  <a:pt x="7903" y="204"/>
                  <a:pt x="7067" y="0"/>
                  <a:pt x="6153" y="0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5" name="Google Shape;255;p6"/>
          <p:cNvSpPr/>
          <p:nvPr/>
        </p:nvSpPr>
        <p:spPr>
          <a:xfrm>
            <a:off x="2519838" y="2857206"/>
            <a:ext cx="108694" cy="73254"/>
          </a:xfrm>
          <a:custGeom>
            <a:avLst/>
            <a:gdLst/>
            <a:ahLst/>
            <a:cxnLst/>
            <a:rect l="l" t="t" r="r" b="b"/>
            <a:pathLst>
              <a:path w="9344" h="6296" extrusionOk="0">
                <a:moveTo>
                  <a:pt x="6153" y="0"/>
                </a:moveTo>
                <a:cubicBezTo>
                  <a:pt x="5508" y="0"/>
                  <a:pt x="4822" y="102"/>
                  <a:pt x="4234" y="279"/>
                </a:cubicBezTo>
                <a:cubicBezTo>
                  <a:pt x="1" y="795"/>
                  <a:pt x="1112" y="6295"/>
                  <a:pt x="4560" y="6295"/>
                </a:cubicBezTo>
                <a:cubicBezTo>
                  <a:pt x="4985" y="6295"/>
                  <a:pt x="5447" y="6214"/>
                  <a:pt x="5936" y="6027"/>
                </a:cubicBezTo>
                <a:cubicBezTo>
                  <a:pt x="7428" y="5599"/>
                  <a:pt x="9344" y="2195"/>
                  <a:pt x="8276" y="703"/>
                </a:cubicBezTo>
                <a:cubicBezTo>
                  <a:pt x="7903" y="204"/>
                  <a:pt x="7067" y="0"/>
                  <a:pt x="6153" y="0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6" name="Google Shape;256;p6"/>
          <p:cNvSpPr/>
          <p:nvPr/>
        </p:nvSpPr>
        <p:spPr>
          <a:xfrm>
            <a:off x="4696014" y="3783043"/>
            <a:ext cx="108694" cy="73254"/>
          </a:xfrm>
          <a:custGeom>
            <a:avLst/>
            <a:gdLst/>
            <a:ahLst/>
            <a:cxnLst/>
            <a:rect l="l" t="t" r="r" b="b"/>
            <a:pathLst>
              <a:path w="9344" h="6296" extrusionOk="0">
                <a:moveTo>
                  <a:pt x="6153" y="0"/>
                </a:moveTo>
                <a:cubicBezTo>
                  <a:pt x="5508" y="0"/>
                  <a:pt x="4822" y="102"/>
                  <a:pt x="4234" y="279"/>
                </a:cubicBezTo>
                <a:cubicBezTo>
                  <a:pt x="1" y="795"/>
                  <a:pt x="1112" y="6295"/>
                  <a:pt x="4560" y="6295"/>
                </a:cubicBezTo>
                <a:cubicBezTo>
                  <a:pt x="4985" y="6295"/>
                  <a:pt x="5447" y="6214"/>
                  <a:pt x="5936" y="6027"/>
                </a:cubicBezTo>
                <a:cubicBezTo>
                  <a:pt x="7428" y="5599"/>
                  <a:pt x="9344" y="2195"/>
                  <a:pt x="8276" y="703"/>
                </a:cubicBezTo>
                <a:cubicBezTo>
                  <a:pt x="7903" y="204"/>
                  <a:pt x="7067" y="0"/>
                  <a:pt x="6153" y="0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7" name="Google Shape;257;p6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58" name="Google Shape;258;p6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60" name="Google Shape;260;p6"/>
          <p:cNvSpPr txBox="1">
            <a:spLocks noGrp="1"/>
          </p:cNvSpPr>
          <p:nvPr>
            <p:ph type="ctrTitle" idx="6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4D55DA-14D4-4B02-8CCC-C0EEBCE15BBD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269518034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 3">
  <p:cSld name="TITLE + TEXT 3">
    <p:spTree>
      <p:nvGrpSpPr>
        <p:cNvPr id="1" name="Shape 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" name="Google Shape;262;p7"/>
          <p:cNvSpPr/>
          <p:nvPr/>
        </p:nvSpPr>
        <p:spPr>
          <a:xfrm>
            <a:off x="2570400" y="840204"/>
            <a:ext cx="4019400" cy="34632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63" name="Google Shape;263;p7"/>
          <p:cNvSpPr txBox="1">
            <a:spLocks noGrp="1"/>
          </p:cNvSpPr>
          <p:nvPr>
            <p:ph type="ctrTitle"/>
          </p:nvPr>
        </p:nvSpPr>
        <p:spPr>
          <a:xfrm>
            <a:off x="1250675" y="1851425"/>
            <a:ext cx="6658800" cy="67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264" name="Google Shape;264;p7"/>
          <p:cNvSpPr txBox="1">
            <a:spLocks noGrp="1"/>
          </p:cNvSpPr>
          <p:nvPr>
            <p:ph type="subTitle" idx="1"/>
          </p:nvPr>
        </p:nvSpPr>
        <p:spPr>
          <a:xfrm>
            <a:off x="3114750" y="2640476"/>
            <a:ext cx="2930700" cy="651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265" name="Google Shape;265;p7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66" name="Google Shape;266;p7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67" name="Google Shape;267;p7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69" name="Google Shape;269;p7"/>
          <p:cNvSpPr txBox="1">
            <a:spLocks noGrp="1"/>
          </p:cNvSpPr>
          <p:nvPr>
            <p:ph type="ctrTitle" idx="2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302B6D23-6EAC-42CB-9225-60B055A8EC37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21250619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>
  <p:cSld name="TWO COLUMNS">
    <p:spTree>
      <p:nvGrpSpPr>
        <p:cNvPr id="1" name="Shape 2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" name="Google Shape;271;p8"/>
          <p:cNvSpPr/>
          <p:nvPr/>
        </p:nvSpPr>
        <p:spPr>
          <a:xfrm>
            <a:off x="4696775" y="1312400"/>
            <a:ext cx="2646900" cy="28695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72" name="Google Shape;272;p8"/>
          <p:cNvSpPr/>
          <p:nvPr/>
        </p:nvSpPr>
        <p:spPr>
          <a:xfrm>
            <a:off x="1800325" y="1312400"/>
            <a:ext cx="2646900" cy="28695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273" name="Google Shape;273;p8"/>
          <p:cNvGrpSpPr/>
          <p:nvPr/>
        </p:nvGrpSpPr>
        <p:grpSpPr>
          <a:xfrm flipH="1">
            <a:off x="2687213" y="1566691"/>
            <a:ext cx="720730" cy="498438"/>
            <a:chOff x="1854663" y="3387725"/>
            <a:chExt cx="1204429" cy="832951"/>
          </a:xfrm>
        </p:grpSpPr>
        <p:sp>
          <p:nvSpPr>
            <p:cNvPr id="274" name="Google Shape;274;p8"/>
            <p:cNvSpPr/>
            <p:nvPr/>
          </p:nvSpPr>
          <p:spPr>
            <a:xfrm>
              <a:off x="1854663" y="3387725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5" name="Google Shape;275;p8"/>
            <p:cNvSpPr/>
            <p:nvPr/>
          </p:nvSpPr>
          <p:spPr>
            <a:xfrm>
              <a:off x="2137432" y="3995304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276" name="Google Shape;276;p8"/>
          <p:cNvGrpSpPr/>
          <p:nvPr/>
        </p:nvGrpSpPr>
        <p:grpSpPr>
          <a:xfrm rot="10800000">
            <a:off x="5659854" y="1566697"/>
            <a:ext cx="720730" cy="498438"/>
            <a:chOff x="3834050" y="3162350"/>
            <a:chExt cx="1204429" cy="832951"/>
          </a:xfrm>
        </p:grpSpPr>
        <p:sp>
          <p:nvSpPr>
            <p:cNvPr id="277" name="Google Shape;277;p8"/>
            <p:cNvSpPr/>
            <p:nvPr/>
          </p:nvSpPr>
          <p:spPr>
            <a:xfrm rot="10800000">
              <a:off x="3834050" y="3162350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78" name="Google Shape;278;p8"/>
            <p:cNvSpPr/>
            <p:nvPr/>
          </p:nvSpPr>
          <p:spPr>
            <a:xfrm rot="10800000">
              <a:off x="4460649" y="3188910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279" name="Google Shape;279;p8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0" name="Google Shape;280;p8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1" name="Google Shape;281;p8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82" name="Google Shape;282;p8"/>
          <p:cNvSpPr txBox="1">
            <a:spLocks noGrp="1"/>
          </p:cNvSpPr>
          <p:nvPr>
            <p:ph type="subTitle" idx="1"/>
          </p:nvPr>
        </p:nvSpPr>
        <p:spPr>
          <a:xfrm>
            <a:off x="2003275" y="2341950"/>
            <a:ext cx="2241000" cy="120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283" name="Google Shape;283;p8"/>
          <p:cNvSpPr txBox="1">
            <a:spLocks noGrp="1"/>
          </p:cNvSpPr>
          <p:nvPr>
            <p:ph type="ctrTitle"/>
          </p:nvPr>
        </p:nvSpPr>
        <p:spPr>
          <a:xfrm>
            <a:off x="4899775" y="2144200"/>
            <a:ext cx="2241000" cy="314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284" name="Google Shape;284;p8"/>
          <p:cNvSpPr txBox="1">
            <a:spLocks noGrp="1"/>
          </p:cNvSpPr>
          <p:nvPr>
            <p:ph type="subTitle" idx="2"/>
          </p:nvPr>
        </p:nvSpPr>
        <p:spPr>
          <a:xfrm>
            <a:off x="4899800" y="2341950"/>
            <a:ext cx="2241000" cy="120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285" name="Google Shape;285;p8"/>
          <p:cNvSpPr txBox="1">
            <a:spLocks noGrp="1"/>
          </p:cNvSpPr>
          <p:nvPr>
            <p:ph type="ctrTitle" idx="3"/>
          </p:nvPr>
        </p:nvSpPr>
        <p:spPr>
          <a:xfrm>
            <a:off x="2003275" y="2144200"/>
            <a:ext cx="2241000" cy="3141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287" name="Google Shape;287;p8"/>
          <p:cNvSpPr txBox="1">
            <a:spLocks noGrp="1"/>
          </p:cNvSpPr>
          <p:nvPr>
            <p:ph type="ctrTitle" idx="4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79E262B5-24A1-4FA8-8111-B1C84056F54F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260776809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2" name="Google Shape;22;p5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3" name="Google Shape;23;p5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2">
  <p:cSld name="THREE COLUMNS 2">
    <p:spTree>
      <p:nvGrpSpPr>
        <p:cNvPr id="1" name="Shape 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" name="Google Shape;289;p9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90" name="Google Shape;290;p9"/>
          <p:cNvSpPr/>
          <p:nvPr/>
        </p:nvSpPr>
        <p:spPr>
          <a:xfrm>
            <a:off x="1315750" y="245413"/>
            <a:ext cx="2069690" cy="4652685"/>
          </a:xfrm>
          <a:custGeom>
            <a:avLst/>
            <a:gdLst/>
            <a:ahLst/>
            <a:cxnLst/>
            <a:rect l="l" t="t" r="r" b="b"/>
            <a:pathLst>
              <a:path w="10119" h="25930" extrusionOk="0">
                <a:moveTo>
                  <a:pt x="5062" y="1"/>
                </a:moveTo>
                <a:cubicBezTo>
                  <a:pt x="2265" y="1"/>
                  <a:pt x="1" y="2265"/>
                  <a:pt x="1" y="5058"/>
                </a:cubicBezTo>
                <a:lnTo>
                  <a:pt x="1" y="20870"/>
                </a:lnTo>
                <a:cubicBezTo>
                  <a:pt x="1" y="23663"/>
                  <a:pt x="2265" y="25930"/>
                  <a:pt x="5062" y="25930"/>
                </a:cubicBezTo>
                <a:cubicBezTo>
                  <a:pt x="7854" y="25930"/>
                  <a:pt x="10118" y="23663"/>
                  <a:pt x="10118" y="20870"/>
                </a:cubicBezTo>
                <a:lnTo>
                  <a:pt x="10118" y="5058"/>
                </a:lnTo>
                <a:cubicBezTo>
                  <a:pt x="10118" y="2265"/>
                  <a:pt x="7854" y="1"/>
                  <a:pt x="5062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91" name="Google Shape;291;p9"/>
          <p:cNvSpPr/>
          <p:nvPr/>
        </p:nvSpPr>
        <p:spPr>
          <a:xfrm>
            <a:off x="3537151" y="245413"/>
            <a:ext cx="2069690" cy="4652685"/>
          </a:xfrm>
          <a:custGeom>
            <a:avLst/>
            <a:gdLst/>
            <a:ahLst/>
            <a:cxnLst/>
            <a:rect l="l" t="t" r="r" b="b"/>
            <a:pathLst>
              <a:path w="10119" h="25930" extrusionOk="0">
                <a:moveTo>
                  <a:pt x="5062" y="1"/>
                </a:moveTo>
                <a:cubicBezTo>
                  <a:pt x="2265" y="1"/>
                  <a:pt x="1" y="2265"/>
                  <a:pt x="1" y="5058"/>
                </a:cubicBezTo>
                <a:lnTo>
                  <a:pt x="1" y="20870"/>
                </a:lnTo>
                <a:cubicBezTo>
                  <a:pt x="1" y="23663"/>
                  <a:pt x="2265" y="25930"/>
                  <a:pt x="5062" y="25930"/>
                </a:cubicBezTo>
                <a:cubicBezTo>
                  <a:pt x="7854" y="25930"/>
                  <a:pt x="10118" y="23663"/>
                  <a:pt x="10118" y="20870"/>
                </a:cubicBezTo>
                <a:lnTo>
                  <a:pt x="10118" y="5058"/>
                </a:lnTo>
                <a:cubicBezTo>
                  <a:pt x="10118" y="2265"/>
                  <a:pt x="7854" y="1"/>
                  <a:pt x="5062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292" name="Google Shape;292;p9"/>
          <p:cNvSpPr/>
          <p:nvPr/>
        </p:nvSpPr>
        <p:spPr>
          <a:xfrm>
            <a:off x="5758539" y="245413"/>
            <a:ext cx="2069690" cy="4652685"/>
          </a:xfrm>
          <a:custGeom>
            <a:avLst/>
            <a:gdLst/>
            <a:ahLst/>
            <a:cxnLst/>
            <a:rect l="l" t="t" r="r" b="b"/>
            <a:pathLst>
              <a:path w="10119" h="25930" extrusionOk="0">
                <a:moveTo>
                  <a:pt x="5062" y="1"/>
                </a:moveTo>
                <a:cubicBezTo>
                  <a:pt x="2265" y="1"/>
                  <a:pt x="1" y="2265"/>
                  <a:pt x="1" y="5058"/>
                </a:cubicBezTo>
                <a:lnTo>
                  <a:pt x="1" y="20870"/>
                </a:lnTo>
                <a:cubicBezTo>
                  <a:pt x="1" y="23663"/>
                  <a:pt x="2265" y="25930"/>
                  <a:pt x="5062" y="25930"/>
                </a:cubicBezTo>
                <a:cubicBezTo>
                  <a:pt x="7854" y="25930"/>
                  <a:pt x="10118" y="23663"/>
                  <a:pt x="10118" y="20870"/>
                </a:cubicBezTo>
                <a:lnTo>
                  <a:pt x="10118" y="5058"/>
                </a:lnTo>
                <a:cubicBezTo>
                  <a:pt x="10118" y="2265"/>
                  <a:pt x="7854" y="1"/>
                  <a:pt x="5062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293" name="Google Shape;293;p9"/>
          <p:cNvGrpSpPr/>
          <p:nvPr/>
        </p:nvGrpSpPr>
        <p:grpSpPr>
          <a:xfrm>
            <a:off x="1854664" y="3387726"/>
            <a:ext cx="1204429" cy="832951"/>
            <a:chOff x="1854663" y="3387725"/>
            <a:chExt cx="1204429" cy="832951"/>
          </a:xfrm>
        </p:grpSpPr>
        <p:sp>
          <p:nvSpPr>
            <p:cNvPr id="294" name="Google Shape;294;p9"/>
            <p:cNvSpPr/>
            <p:nvPr/>
          </p:nvSpPr>
          <p:spPr>
            <a:xfrm>
              <a:off x="1854663" y="3387725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5" name="Google Shape;295;p9"/>
            <p:cNvSpPr/>
            <p:nvPr/>
          </p:nvSpPr>
          <p:spPr>
            <a:xfrm>
              <a:off x="2137432" y="3995304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296" name="Google Shape;296;p9"/>
          <p:cNvGrpSpPr/>
          <p:nvPr/>
        </p:nvGrpSpPr>
        <p:grpSpPr>
          <a:xfrm>
            <a:off x="3834051" y="3162351"/>
            <a:ext cx="1204429" cy="832951"/>
            <a:chOff x="3834050" y="3162350"/>
            <a:chExt cx="1204429" cy="832951"/>
          </a:xfrm>
        </p:grpSpPr>
        <p:sp>
          <p:nvSpPr>
            <p:cNvPr id="297" name="Google Shape;297;p9"/>
            <p:cNvSpPr/>
            <p:nvPr/>
          </p:nvSpPr>
          <p:spPr>
            <a:xfrm rot="10800000">
              <a:off x="3834050" y="3162350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298" name="Google Shape;298;p9"/>
            <p:cNvSpPr/>
            <p:nvPr/>
          </p:nvSpPr>
          <p:spPr>
            <a:xfrm rot="10800000">
              <a:off x="4460649" y="3188910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299" name="Google Shape;299;p9"/>
          <p:cNvGrpSpPr/>
          <p:nvPr/>
        </p:nvGrpSpPr>
        <p:grpSpPr>
          <a:xfrm>
            <a:off x="6130101" y="3387726"/>
            <a:ext cx="1204429" cy="832951"/>
            <a:chOff x="6130100" y="3387725"/>
            <a:chExt cx="1204429" cy="832951"/>
          </a:xfrm>
        </p:grpSpPr>
        <p:sp>
          <p:nvSpPr>
            <p:cNvPr id="300" name="Google Shape;300;p9"/>
            <p:cNvSpPr/>
            <p:nvPr/>
          </p:nvSpPr>
          <p:spPr>
            <a:xfrm flipH="1">
              <a:off x="6130100" y="3387725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01" name="Google Shape;301;p9"/>
            <p:cNvSpPr/>
            <p:nvPr/>
          </p:nvSpPr>
          <p:spPr>
            <a:xfrm flipH="1">
              <a:off x="6756699" y="3995304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302" name="Google Shape;302;p9"/>
          <p:cNvSpPr txBox="1">
            <a:spLocks noGrp="1"/>
          </p:cNvSpPr>
          <p:nvPr>
            <p:ph type="ctrTitle"/>
          </p:nvPr>
        </p:nvSpPr>
        <p:spPr>
          <a:xfrm>
            <a:off x="1565514" y="1915838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03" name="Google Shape;303;p9"/>
          <p:cNvSpPr txBox="1">
            <a:spLocks noGrp="1"/>
          </p:cNvSpPr>
          <p:nvPr>
            <p:ph type="subTitle" idx="1"/>
          </p:nvPr>
        </p:nvSpPr>
        <p:spPr>
          <a:xfrm>
            <a:off x="1565478" y="2377288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04" name="Google Shape;304;p9"/>
          <p:cNvSpPr txBox="1">
            <a:spLocks noGrp="1"/>
          </p:cNvSpPr>
          <p:nvPr>
            <p:ph type="ctrTitle" idx="2"/>
          </p:nvPr>
        </p:nvSpPr>
        <p:spPr>
          <a:xfrm>
            <a:off x="3740739" y="1915838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05" name="Google Shape;305;p9"/>
          <p:cNvSpPr txBox="1">
            <a:spLocks noGrp="1"/>
          </p:cNvSpPr>
          <p:nvPr>
            <p:ph type="subTitle" idx="3"/>
          </p:nvPr>
        </p:nvSpPr>
        <p:spPr>
          <a:xfrm>
            <a:off x="3740703" y="2377288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06" name="Google Shape;306;p9"/>
          <p:cNvSpPr txBox="1">
            <a:spLocks noGrp="1"/>
          </p:cNvSpPr>
          <p:nvPr>
            <p:ph type="ctrTitle" idx="4"/>
          </p:nvPr>
        </p:nvSpPr>
        <p:spPr>
          <a:xfrm>
            <a:off x="6008301" y="1915838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07" name="Google Shape;307;p9"/>
          <p:cNvSpPr txBox="1">
            <a:spLocks noGrp="1"/>
          </p:cNvSpPr>
          <p:nvPr>
            <p:ph type="subTitle" idx="5"/>
          </p:nvPr>
        </p:nvSpPr>
        <p:spPr>
          <a:xfrm>
            <a:off x="6008265" y="2377288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08" name="Google Shape;308;p9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09" name="Google Shape;309;p9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11" name="Google Shape;311;p9"/>
          <p:cNvSpPr txBox="1">
            <a:spLocks noGrp="1"/>
          </p:cNvSpPr>
          <p:nvPr>
            <p:ph type="ctrTitle" idx="6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4D26B35B-251C-4914-99B4-34C1F957E2E6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392116828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BLANK SLIDE">
  <p:cSld name="TITLE + BLANK SLIDE">
    <p:bg>
      <p:bgPr>
        <a:gradFill>
          <a:gsLst>
            <a:gs pos="0">
              <a:srgbClr val="89FBDE"/>
            </a:gs>
            <a:gs pos="100000">
              <a:srgbClr val="F9F586"/>
            </a:gs>
          </a:gsLst>
          <a:lin ang="5400700" scaled="0"/>
        </a:gradFill>
        <a:effectLst/>
      </p:bgPr>
    </p:bg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10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14" name="Google Shape;314;p10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15" name="Google Shape;315;p10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17" name="Google Shape;317;p10"/>
          <p:cNvSpPr txBox="1">
            <a:spLocks noGrp="1"/>
          </p:cNvSpPr>
          <p:nvPr>
            <p:ph type="ctrTitle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900F5A-DC5D-4349-87B9-FFBDA66771ED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IN" sz="1050" dirty="0"/>
              <a:t> 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01EF216-5D92-425D-95E0-03AC1F5C88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3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98455926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S 3">
  <p:cSld name="THREE COLUMNS 3">
    <p:spTree>
      <p:nvGrpSpPr>
        <p:cNvPr id="1" name="Shape 3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9" name="Google Shape;319;p11"/>
          <p:cNvSpPr/>
          <p:nvPr/>
        </p:nvSpPr>
        <p:spPr>
          <a:xfrm>
            <a:off x="3584694" y="1973750"/>
            <a:ext cx="1974600" cy="3169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20" name="Google Shape;320;p11"/>
          <p:cNvSpPr/>
          <p:nvPr/>
        </p:nvSpPr>
        <p:spPr>
          <a:xfrm>
            <a:off x="1424025" y="1973750"/>
            <a:ext cx="1974600" cy="3169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321" name="Google Shape;321;p11"/>
          <p:cNvGrpSpPr/>
          <p:nvPr/>
        </p:nvGrpSpPr>
        <p:grpSpPr>
          <a:xfrm flipH="1">
            <a:off x="1890374" y="2259182"/>
            <a:ext cx="898504" cy="621382"/>
            <a:chOff x="1854663" y="3387725"/>
            <a:chExt cx="1204429" cy="832951"/>
          </a:xfrm>
        </p:grpSpPr>
        <p:sp>
          <p:nvSpPr>
            <p:cNvPr id="322" name="Google Shape;322;p11"/>
            <p:cNvSpPr/>
            <p:nvPr/>
          </p:nvSpPr>
          <p:spPr>
            <a:xfrm>
              <a:off x="1854663" y="3387725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23" name="Google Shape;323;p11"/>
            <p:cNvSpPr/>
            <p:nvPr/>
          </p:nvSpPr>
          <p:spPr>
            <a:xfrm>
              <a:off x="2137432" y="3995304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grpSp>
        <p:nvGrpSpPr>
          <p:cNvPr id="324" name="Google Shape;324;p11"/>
          <p:cNvGrpSpPr/>
          <p:nvPr/>
        </p:nvGrpSpPr>
        <p:grpSpPr>
          <a:xfrm rot="10800000">
            <a:off x="4178458" y="2271765"/>
            <a:ext cx="898504" cy="621382"/>
            <a:chOff x="3834050" y="3162350"/>
            <a:chExt cx="1204429" cy="832951"/>
          </a:xfrm>
        </p:grpSpPr>
        <p:sp>
          <p:nvSpPr>
            <p:cNvPr id="325" name="Google Shape;325;p11"/>
            <p:cNvSpPr/>
            <p:nvPr/>
          </p:nvSpPr>
          <p:spPr>
            <a:xfrm rot="10800000">
              <a:off x="3834050" y="3162350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26" name="Google Shape;326;p11"/>
            <p:cNvSpPr/>
            <p:nvPr/>
          </p:nvSpPr>
          <p:spPr>
            <a:xfrm rot="10800000">
              <a:off x="4460649" y="3188910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327" name="Google Shape;327;p11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28" name="Google Shape;328;p11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29" name="Google Shape;329;p11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30" name="Google Shape;330;p11"/>
          <p:cNvSpPr txBox="1">
            <a:spLocks noGrp="1"/>
          </p:cNvSpPr>
          <p:nvPr>
            <p:ph type="subTitle" idx="1"/>
          </p:nvPr>
        </p:nvSpPr>
        <p:spPr>
          <a:xfrm>
            <a:off x="1575495" y="3714835"/>
            <a:ext cx="1671600" cy="89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31" name="Google Shape;331;p11"/>
          <p:cNvSpPr txBox="1">
            <a:spLocks noGrp="1"/>
          </p:cNvSpPr>
          <p:nvPr>
            <p:ph type="ctrTitle"/>
          </p:nvPr>
        </p:nvSpPr>
        <p:spPr>
          <a:xfrm>
            <a:off x="3736198" y="3246220"/>
            <a:ext cx="1671600" cy="23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332" name="Google Shape;332;p11"/>
          <p:cNvSpPr txBox="1">
            <a:spLocks noGrp="1"/>
          </p:cNvSpPr>
          <p:nvPr>
            <p:ph type="subTitle" idx="2"/>
          </p:nvPr>
        </p:nvSpPr>
        <p:spPr>
          <a:xfrm>
            <a:off x="3736217" y="3714835"/>
            <a:ext cx="1671600" cy="89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33" name="Google Shape;333;p11"/>
          <p:cNvSpPr txBox="1">
            <a:spLocks noGrp="1"/>
          </p:cNvSpPr>
          <p:nvPr>
            <p:ph type="ctrTitle" idx="3"/>
          </p:nvPr>
        </p:nvSpPr>
        <p:spPr>
          <a:xfrm>
            <a:off x="1575495" y="3246220"/>
            <a:ext cx="1671600" cy="23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334" name="Google Shape;334;p11"/>
          <p:cNvSpPr/>
          <p:nvPr/>
        </p:nvSpPr>
        <p:spPr>
          <a:xfrm>
            <a:off x="5745372" y="1973750"/>
            <a:ext cx="1974600" cy="3169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grpSp>
        <p:nvGrpSpPr>
          <p:cNvPr id="335" name="Google Shape;335;p11"/>
          <p:cNvGrpSpPr/>
          <p:nvPr/>
        </p:nvGrpSpPr>
        <p:grpSpPr>
          <a:xfrm rot="10800000">
            <a:off x="6339134" y="2271765"/>
            <a:ext cx="898504" cy="621382"/>
            <a:chOff x="3834050" y="3162350"/>
            <a:chExt cx="1204429" cy="832951"/>
          </a:xfrm>
        </p:grpSpPr>
        <p:sp>
          <p:nvSpPr>
            <p:cNvPr id="336" name="Google Shape;336;p11"/>
            <p:cNvSpPr/>
            <p:nvPr/>
          </p:nvSpPr>
          <p:spPr>
            <a:xfrm rot="10800000">
              <a:off x="3834050" y="3162350"/>
              <a:ext cx="1204429" cy="832951"/>
            </a:xfrm>
            <a:custGeom>
              <a:avLst/>
              <a:gdLst/>
              <a:ahLst/>
              <a:cxnLst/>
              <a:rect l="l" t="t" r="r" b="b"/>
              <a:pathLst>
                <a:path w="38142" h="26378" extrusionOk="0">
                  <a:moveTo>
                    <a:pt x="19287" y="1"/>
                  </a:moveTo>
                  <a:cubicBezTo>
                    <a:pt x="8870" y="1"/>
                    <a:pt x="1019" y="5691"/>
                    <a:pt x="0" y="15618"/>
                  </a:cubicBezTo>
                  <a:cubicBezTo>
                    <a:pt x="0" y="17796"/>
                    <a:pt x="190" y="20317"/>
                    <a:pt x="727" y="22063"/>
                  </a:cubicBezTo>
                  <a:cubicBezTo>
                    <a:pt x="1559" y="24774"/>
                    <a:pt x="3530" y="26378"/>
                    <a:pt x="5059" y="26378"/>
                  </a:cubicBezTo>
                  <a:cubicBezTo>
                    <a:pt x="6194" y="26378"/>
                    <a:pt x="7083" y="25491"/>
                    <a:pt x="7083" y="23517"/>
                  </a:cubicBezTo>
                  <a:cubicBezTo>
                    <a:pt x="6707" y="17667"/>
                    <a:pt x="12213" y="16916"/>
                    <a:pt x="17353" y="16916"/>
                  </a:cubicBezTo>
                  <a:cubicBezTo>
                    <a:pt x="18241" y="16916"/>
                    <a:pt x="19117" y="16937"/>
                    <a:pt x="19953" y="16960"/>
                  </a:cubicBezTo>
                  <a:cubicBezTo>
                    <a:pt x="20784" y="16981"/>
                    <a:pt x="21576" y="17004"/>
                    <a:pt x="22293" y="17004"/>
                  </a:cubicBezTo>
                  <a:cubicBezTo>
                    <a:pt x="22697" y="17004"/>
                    <a:pt x="23078" y="16998"/>
                    <a:pt x="23428" y="16977"/>
                  </a:cubicBezTo>
                  <a:cubicBezTo>
                    <a:pt x="38142" y="16434"/>
                    <a:pt x="31602" y="846"/>
                    <a:pt x="21522" y="89"/>
                  </a:cubicBezTo>
                  <a:cubicBezTo>
                    <a:pt x="20764" y="31"/>
                    <a:pt x="20017" y="1"/>
                    <a:pt x="19287" y="1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  <p:sp>
          <p:nvSpPr>
            <p:cNvPr id="337" name="Google Shape;337;p11"/>
            <p:cNvSpPr/>
            <p:nvPr/>
          </p:nvSpPr>
          <p:spPr>
            <a:xfrm rot="10800000">
              <a:off x="4460649" y="3188910"/>
              <a:ext cx="295060" cy="198812"/>
            </a:xfrm>
            <a:custGeom>
              <a:avLst/>
              <a:gdLst/>
              <a:ahLst/>
              <a:cxnLst/>
              <a:rect l="l" t="t" r="r" b="b"/>
              <a:pathLst>
                <a:path w="9344" h="6296" extrusionOk="0">
                  <a:moveTo>
                    <a:pt x="6153" y="0"/>
                  </a:moveTo>
                  <a:cubicBezTo>
                    <a:pt x="5508" y="0"/>
                    <a:pt x="4822" y="102"/>
                    <a:pt x="4234" y="279"/>
                  </a:cubicBezTo>
                  <a:cubicBezTo>
                    <a:pt x="1" y="795"/>
                    <a:pt x="1112" y="6295"/>
                    <a:pt x="4560" y="6295"/>
                  </a:cubicBezTo>
                  <a:cubicBezTo>
                    <a:pt x="4985" y="6295"/>
                    <a:pt x="5447" y="6214"/>
                    <a:pt x="5936" y="6027"/>
                  </a:cubicBezTo>
                  <a:cubicBezTo>
                    <a:pt x="7428" y="5599"/>
                    <a:pt x="9344" y="2195"/>
                    <a:pt x="8276" y="703"/>
                  </a:cubicBezTo>
                  <a:cubicBezTo>
                    <a:pt x="7903" y="204"/>
                    <a:pt x="7067" y="0"/>
                    <a:pt x="6153" y="0"/>
                  </a:cubicBezTo>
                  <a:close/>
                </a:path>
              </a:pathLst>
            </a:custGeom>
            <a:solidFill>
              <a:srgbClr val="89FBDE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/>
            </a:p>
          </p:txBody>
        </p:sp>
      </p:grpSp>
      <p:sp>
        <p:nvSpPr>
          <p:cNvPr id="338" name="Google Shape;338;p11"/>
          <p:cNvSpPr txBox="1">
            <a:spLocks noGrp="1"/>
          </p:cNvSpPr>
          <p:nvPr>
            <p:ph type="ctrTitle" idx="4"/>
          </p:nvPr>
        </p:nvSpPr>
        <p:spPr>
          <a:xfrm>
            <a:off x="5896873" y="3246220"/>
            <a:ext cx="1671600" cy="234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339" name="Google Shape;339;p11"/>
          <p:cNvSpPr txBox="1">
            <a:spLocks noGrp="1"/>
          </p:cNvSpPr>
          <p:nvPr>
            <p:ph type="subTitle" idx="5"/>
          </p:nvPr>
        </p:nvSpPr>
        <p:spPr>
          <a:xfrm>
            <a:off x="5896892" y="3714835"/>
            <a:ext cx="1671600" cy="899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40" name="Google Shape;340;p11"/>
          <p:cNvSpPr txBox="1">
            <a:spLocks noGrp="1"/>
          </p:cNvSpPr>
          <p:nvPr>
            <p:ph type="subTitle" idx="6"/>
          </p:nvPr>
        </p:nvSpPr>
        <p:spPr>
          <a:xfrm>
            <a:off x="1575500" y="3480527"/>
            <a:ext cx="1671600" cy="23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41" name="Google Shape;341;p11"/>
          <p:cNvSpPr txBox="1">
            <a:spLocks noGrp="1"/>
          </p:cNvSpPr>
          <p:nvPr>
            <p:ph type="subTitle" idx="7"/>
          </p:nvPr>
        </p:nvSpPr>
        <p:spPr>
          <a:xfrm>
            <a:off x="3736223" y="3480527"/>
            <a:ext cx="1671600" cy="23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42" name="Google Shape;342;p11"/>
          <p:cNvSpPr txBox="1">
            <a:spLocks noGrp="1"/>
          </p:cNvSpPr>
          <p:nvPr>
            <p:ph type="subTitle" idx="8"/>
          </p:nvPr>
        </p:nvSpPr>
        <p:spPr>
          <a:xfrm>
            <a:off x="5896900" y="3480527"/>
            <a:ext cx="1671600" cy="2343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44" name="Google Shape;344;p11"/>
          <p:cNvSpPr txBox="1">
            <a:spLocks noGrp="1"/>
          </p:cNvSpPr>
          <p:nvPr>
            <p:ph type="ctrTitle" idx="9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28" name="Slide Number Placeholder 5">
            <a:extLst>
              <a:ext uri="{FF2B5EF4-FFF2-40B4-BE49-F238E27FC236}">
                <a16:creationId xmlns:a16="http://schemas.microsoft.com/office/drawing/2014/main" id="{75A507E8-5178-4FAD-A29D-3C539D71A0F4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171238135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LUMNS">
  <p:cSld name="FOUR COLUMNS">
    <p:spTree>
      <p:nvGrpSpPr>
        <p:cNvPr id="1" name="Shape 3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6" name="Google Shape;346;p12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47" name="Google Shape;347;p12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48" name="Google Shape;348;p12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49" name="Google Shape;349;p12"/>
          <p:cNvSpPr txBox="1">
            <a:spLocks noGrp="1"/>
          </p:cNvSpPr>
          <p:nvPr>
            <p:ph type="ctrTitle"/>
          </p:nvPr>
        </p:nvSpPr>
        <p:spPr>
          <a:xfrm>
            <a:off x="3025425" y="1434650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50" name="Google Shape;350;p12"/>
          <p:cNvSpPr txBox="1">
            <a:spLocks noGrp="1"/>
          </p:cNvSpPr>
          <p:nvPr>
            <p:ph type="subTitle" idx="1"/>
          </p:nvPr>
        </p:nvSpPr>
        <p:spPr>
          <a:xfrm>
            <a:off x="3025328" y="1896088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51" name="Google Shape;351;p12"/>
          <p:cNvSpPr txBox="1">
            <a:spLocks noGrp="1"/>
          </p:cNvSpPr>
          <p:nvPr>
            <p:ph type="ctrTitle" idx="2"/>
          </p:nvPr>
        </p:nvSpPr>
        <p:spPr>
          <a:xfrm>
            <a:off x="4548462" y="1434650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52" name="Google Shape;352;p12"/>
          <p:cNvSpPr txBox="1">
            <a:spLocks noGrp="1"/>
          </p:cNvSpPr>
          <p:nvPr>
            <p:ph type="subTitle" idx="3"/>
          </p:nvPr>
        </p:nvSpPr>
        <p:spPr>
          <a:xfrm>
            <a:off x="4548428" y="1896088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53" name="Google Shape;353;p12"/>
          <p:cNvSpPr txBox="1">
            <a:spLocks noGrp="1"/>
          </p:cNvSpPr>
          <p:nvPr>
            <p:ph type="ctrTitle" idx="4"/>
          </p:nvPr>
        </p:nvSpPr>
        <p:spPr>
          <a:xfrm>
            <a:off x="3025425" y="3319275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54" name="Google Shape;354;p12"/>
          <p:cNvSpPr txBox="1">
            <a:spLocks noGrp="1"/>
          </p:cNvSpPr>
          <p:nvPr>
            <p:ph type="subTitle" idx="5"/>
          </p:nvPr>
        </p:nvSpPr>
        <p:spPr>
          <a:xfrm>
            <a:off x="3025328" y="3780713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55" name="Google Shape;355;p12"/>
          <p:cNvSpPr txBox="1">
            <a:spLocks noGrp="1"/>
          </p:cNvSpPr>
          <p:nvPr>
            <p:ph type="ctrTitle" idx="6"/>
          </p:nvPr>
        </p:nvSpPr>
        <p:spPr>
          <a:xfrm>
            <a:off x="4548462" y="3319275"/>
            <a:ext cx="1570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356" name="Google Shape;356;p12"/>
          <p:cNvSpPr txBox="1">
            <a:spLocks noGrp="1"/>
          </p:cNvSpPr>
          <p:nvPr>
            <p:ph type="subTitle" idx="7"/>
          </p:nvPr>
        </p:nvSpPr>
        <p:spPr>
          <a:xfrm>
            <a:off x="4548428" y="3780713"/>
            <a:ext cx="1570200" cy="367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357" name="Google Shape;357;p12"/>
          <p:cNvSpPr/>
          <p:nvPr/>
        </p:nvSpPr>
        <p:spPr>
          <a:xfrm>
            <a:off x="3475212" y="933055"/>
            <a:ext cx="670500" cy="577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58" name="Google Shape;358;p12"/>
          <p:cNvSpPr/>
          <p:nvPr/>
        </p:nvSpPr>
        <p:spPr>
          <a:xfrm>
            <a:off x="4998287" y="933055"/>
            <a:ext cx="670500" cy="577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59" name="Google Shape;359;p12"/>
          <p:cNvSpPr/>
          <p:nvPr/>
        </p:nvSpPr>
        <p:spPr>
          <a:xfrm>
            <a:off x="3475212" y="2801543"/>
            <a:ext cx="670500" cy="577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60" name="Google Shape;360;p12"/>
          <p:cNvSpPr/>
          <p:nvPr/>
        </p:nvSpPr>
        <p:spPr>
          <a:xfrm>
            <a:off x="4998287" y="2801543"/>
            <a:ext cx="670500" cy="577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62" name="Google Shape;362;p12"/>
          <p:cNvSpPr txBox="1">
            <a:spLocks noGrp="1"/>
          </p:cNvSpPr>
          <p:nvPr>
            <p:ph type="ctrTitle" idx="8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8D85257E-684B-4DA2-A659-798F4F4BB0E4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9113588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BLANK SLIDE 2">
  <p:cSld name="TITLE + BLANK SLIDE 2">
    <p:bg>
      <p:bgPr>
        <a:gradFill>
          <a:gsLst>
            <a:gs pos="0">
              <a:srgbClr val="89FBDE"/>
            </a:gs>
            <a:gs pos="100000">
              <a:srgbClr val="F9F586"/>
            </a:gs>
          </a:gsLst>
          <a:lin ang="5400700" scaled="0"/>
        </a:gradFill>
        <a:effectLst/>
      </p:bgPr>
    </p:bg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13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65" name="Google Shape;365;p13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66" name="Google Shape;366;p13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68" name="Google Shape;368;p13"/>
          <p:cNvSpPr txBox="1">
            <a:spLocks noGrp="1"/>
          </p:cNvSpPr>
          <p:nvPr>
            <p:ph type="ctrTitle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E0428643-F7F2-472D-B6EE-9A7460634DEE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123269749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 5">
  <p:cSld name="TITLE + TEXT 5">
    <p:bg>
      <p:bgPr>
        <a:gradFill>
          <a:gsLst>
            <a:gs pos="0">
              <a:srgbClr val="89FBDE"/>
            </a:gs>
            <a:gs pos="100000">
              <a:srgbClr val="F9F586"/>
            </a:gs>
          </a:gsLst>
          <a:lin ang="5400700" scaled="0"/>
        </a:gradFill>
        <a:effectLst/>
      </p:bgPr>
    </p:bg>
    <p:spTree>
      <p:nvGrpSpPr>
        <p:cNvPr id="1" name="Shape 3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4" name="Google Shape;374;p15"/>
          <p:cNvSpPr/>
          <p:nvPr/>
        </p:nvSpPr>
        <p:spPr>
          <a:xfrm>
            <a:off x="4504075" y="1875575"/>
            <a:ext cx="4639800" cy="32679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75" name="Google Shape;375;p15"/>
          <p:cNvSpPr txBox="1">
            <a:spLocks noGrp="1"/>
          </p:cNvSpPr>
          <p:nvPr>
            <p:ph type="ctrTitle"/>
          </p:nvPr>
        </p:nvSpPr>
        <p:spPr>
          <a:xfrm flipH="1">
            <a:off x="355600" y="2236500"/>
            <a:ext cx="3956100" cy="670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76" name="Google Shape;376;p15"/>
          <p:cNvSpPr txBox="1">
            <a:spLocks noGrp="1"/>
          </p:cNvSpPr>
          <p:nvPr>
            <p:ph type="subTitle" idx="1"/>
          </p:nvPr>
        </p:nvSpPr>
        <p:spPr>
          <a:xfrm>
            <a:off x="4837600" y="2171850"/>
            <a:ext cx="3956100" cy="2574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377" name="Google Shape;377;p15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78" name="Google Shape;378;p15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79" name="Google Shape;379;p15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81" name="Google Shape;381;p15"/>
          <p:cNvSpPr txBox="1">
            <a:spLocks noGrp="1"/>
          </p:cNvSpPr>
          <p:nvPr>
            <p:ph type="ctrTitle" idx="2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9D35373-25FE-45A8-A11C-090C1975F537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37289495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 6">
  <p:cSld name="TITLE + TEXT 6">
    <p:bg>
      <p:bgPr>
        <a:gradFill>
          <a:gsLst>
            <a:gs pos="0">
              <a:srgbClr val="89FBDE"/>
            </a:gs>
            <a:gs pos="100000">
              <a:srgbClr val="F9F586"/>
            </a:gs>
          </a:gsLst>
          <a:lin ang="5400700" scaled="0"/>
        </a:gradFill>
        <a:effectLst/>
      </p:bgPr>
    </p:bg>
    <p:spTree>
      <p:nvGrpSpPr>
        <p:cNvPr id="1" name="Shape 3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3" name="Google Shape;383;p16"/>
          <p:cNvSpPr/>
          <p:nvPr/>
        </p:nvSpPr>
        <p:spPr>
          <a:xfrm>
            <a:off x="927525" y="1875575"/>
            <a:ext cx="8216400" cy="32679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84" name="Google Shape;384;p16"/>
          <p:cNvSpPr txBox="1">
            <a:spLocks noGrp="1"/>
          </p:cNvSpPr>
          <p:nvPr>
            <p:ph type="ctrTitle"/>
          </p:nvPr>
        </p:nvSpPr>
        <p:spPr>
          <a:xfrm flipH="1">
            <a:off x="927525" y="880350"/>
            <a:ext cx="3956100" cy="67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85" name="Google Shape;385;p16"/>
          <p:cNvSpPr txBox="1">
            <a:spLocks noGrp="1"/>
          </p:cNvSpPr>
          <p:nvPr>
            <p:ph type="subTitle" idx="1"/>
          </p:nvPr>
        </p:nvSpPr>
        <p:spPr>
          <a:xfrm>
            <a:off x="1359425" y="2277250"/>
            <a:ext cx="3123600" cy="2574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386" name="Google Shape;386;p16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87" name="Google Shape;387;p16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88" name="Google Shape;388;p16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89" name="Google Shape;389;p16"/>
          <p:cNvSpPr txBox="1">
            <a:spLocks noGrp="1"/>
          </p:cNvSpPr>
          <p:nvPr>
            <p:ph type="subTitle" idx="2"/>
          </p:nvPr>
        </p:nvSpPr>
        <p:spPr>
          <a:xfrm>
            <a:off x="5076500" y="2277250"/>
            <a:ext cx="3123600" cy="2574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391" name="Google Shape;391;p16"/>
          <p:cNvSpPr txBox="1">
            <a:spLocks noGrp="1"/>
          </p:cNvSpPr>
          <p:nvPr>
            <p:ph type="ctrTitle" idx="3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6F684FCC-447D-4016-8C4C-53CB11D65D72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1050" smtClean="0"/>
              <a:pPr/>
              <a:t>‹#›</a:t>
            </a:fld>
            <a:endParaRPr lang="en-IN" sz="1050" dirty="0"/>
          </a:p>
        </p:txBody>
      </p:sp>
    </p:spTree>
    <p:extLst>
      <p:ext uri="{BB962C8B-B14F-4D97-AF65-F5344CB8AC3E}">
        <p14:creationId xmlns:p14="http://schemas.microsoft.com/office/powerpoint/2010/main" val="6301113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LIDE">
  <p:cSld name="BLANK SLIDE">
    <p:bg>
      <p:bgPr>
        <a:solidFill>
          <a:srgbClr val="FFFFFF"/>
        </a:solidFill>
        <a:effectLst/>
      </p:bgPr>
    </p:bg>
    <p:spTree>
      <p:nvGrpSpPr>
        <p:cNvPr id="1" name="Shape 39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5">
            <a:extLst>
              <a:ext uri="{FF2B5EF4-FFF2-40B4-BE49-F238E27FC236}">
                <a16:creationId xmlns:a16="http://schemas.microsoft.com/office/drawing/2014/main" id="{5DDFA5E8-7C02-4FD0-8F37-59E408A91B6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724248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F99C46A-7B9A-4FA3-A125-53ABA7D628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6950360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506DC5FC-A8AA-4CF0-B11A-5BAE88EDA6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989117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6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F3EC472-F2A5-49B6-8376-D172B7B13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14921009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 4">
  <p:cSld name="TITLE + TEXT 4"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14"/>
          <p:cNvSpPr/>
          <p:nvPr/>
        </p:nvSpPr>
        <p:spPr>
          <a:xfrm>
            <a:off x="559800" y="-25"/>
            <a:ext cx="4550700" cy="44916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371" name="Google Shape;371;p14"/>
          <p:cNvSpPr txBox="1">
            <a:spLocks noGrp="1"/>
          </p:cNvSpPr>
          <p:nvPr>
            <p:ph type="subTitle" idx="1"/>
          </p:nvPr>
        </p:nvSpPr>
        <p:spPr>
          <a:xfrm>
            <a:off x="1010450" y="2591100"/>
            <a:ext cx="3570900" cy="149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372" name="Google Shape;372;p14"/>
          <p:cNvSpPr txBox="1">
            <a:spLocks noGrp="1"/>
          </p:cNvSpPr>
          <p:nvPr>
            <p:ph type="ctrTitle"/>
          </p:nvPr>
        </p:nvSpPr>
        <p:spPr>
          <a:xfrm flipH="1">
            <a:off x="1843479" y="1653088"/>
            <a:ext cx="3956100" cy="67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83BD233D-B518-4DF5-ACF6-8026B944FA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5099793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8">
          <p15:clr>
            <a:srgbClr val="FA7B17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2">
  <p:cSld name="TITLE 2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2"/>
          <p:cNvSpPr txBox="1">
            <a:spLocks noGrp="1"/>
          </p:cNvSpPr>
          <p:nvPr>
            <p:ph type="ctrTitle"/>
          </p:nvPr>
        </p:nvSpPr>
        <p:spPr>
          <a:xfrm flipH="1">
            <a:off x="749100" y="500825"/>
            <a:ext cx="8394900" cy="670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3600"/>
              <a:buNone/>
              <a:defRPr sz="3600">
                <a:solidFill>
                  <a:srgbClr val="FFFFFF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400"/>
              <a:buNone/>
              <a:defRPr sz="2400">
                <a:solidFill>
                  <a:srgbClr val="FFFFFF"/>
                </a:solidFill>
              </a:defRPr>
            </a:lvl9pPr>
          </a:lstStyle>
          <a:p>
            <a:endParaRPr/>
          </a:p>
        </p:txBody>
      </p:sp>
      <p:pic>
        <p:nvPicPr>
          <p:cNvPr id="91" name="Google Shape;91;p12"/>
          <p:cNvPicPr preferRelativeResize="0"/>
          <p:nvPr/>
        </p:nvPicPr>
        <p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6843226" y="1"/>
            <a:ext cx="2300675" cy="207590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1956F33-2C11-4C0B-B9A4-3CDF7E05237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45032542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TEXT ">
  <p:cSld name="TITLE + TEXT ">
    <p:spTree>
      <p:nvGrpSpPr>
        <p:cNvPr id="1" name="Shape 1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" name="Google Shape;161;p4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F9F58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62" name="Google Shape;162;p4"/>
          <p:cNvSpPr/>
          <p:nvPr/>
        </p:nvSpPr>
        <p:spPr>
          <a:xfrm rot="-4988467" flipH="1">
            <a:off x="7557512" y="255677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63" name="Google Shape;163;p4"/>
          <p:cNvSpPr/>
          <p:nvPr/>
        </p:nvSpPr>
        <p:spPr>
          <a:xfrm rot="-1115919">
            <a:off x="7381772" y="785322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89FBDE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64" name="Google Shape;164;p4"/>
          <p:cNvSpPr/>
          <p:nvPr/>
        </p:nvSpPr>
        <p:spPr>
          <a:xfrm>
            <a:off x="267750" y="250350"/>
            <a:ext cx="3407100" cy="4642800"/>
          </a:xfrm>
          <a:prstGeom prst="rect">
            <a:avLst/>
          </a:prstGeom>
          <a:solidFill>
            <a:srgbClr val="F9F586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800"/>
          </a:p>
        </p:txBody>
      </p:sp>
      <p:sp>
        <p:nvSpPr>
          <p:cNvPr id="165" name="Google Shape;165;p4"/>
          <p:cNvSpPr txBox="1">
            <a:spLocks noGrp="1"/>
          </p:cNvSpPr>
          <p:nvPr>
            <p:ph type="subTitle" idx="1"/>
          </p:nvPr>
        </p:nvSpPr>
        <p:spPr>
          <a:xfrm>
            <a:off x="782075" y="2282400"/>
            <a:ext cx="2359200" cy="1748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 sz="1100"/>
            </a:lvl9pPr>
          </a:lstStyle>
          <a:p>
            <a:endParaRPr/>
          </a:p>
        </p:txBody>
      </p:sp>
      <p:sp>
        <p:nvSpPr>
          <p:cNvPr id="166" name="Google Shape;166;p4"/>
          <p:cNvSpPr txBox="1">
            <a:spLocks noGrp="1"/>
          </p:cNvSpPr>
          <p:nvPr>
            <p:ph type="ctrTitle"/>
          </p:nvPr>
        </p:nvSpPr>
        <p:spPr>
          <a:xfrm flipH="1">
            <a:off x="1038957" y="1653100"/>
            <a:ext cx="3656700" cy="670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grpSp>
        <p:nvGrpSpPr>
          <p:cNvPr id="167" name="Google Shape;167;p4"/>
          <p:cNvGrpSpPr/>
          <p:nvPr/>
        </p:nvGrpSpPr>
        <p:grpSpPr>
          <a:xfrm>
            <a:off x="8810671" y="3680004"/>
            <a:ext cx="184813" cy="1331706"/>
            <a:chOff x="218760" y="2674535"/>
            <a:chExt cx="270036" cy="1946086"/>
          </a:xfrm>
        </p:grpSpPr>
        <p:grpSp>
          <p:nvGrpSpPr>
            <p:cNvPr id="168" name="Google Shape;168;p4"/>
            <p:cNvGrpSpPr/>
            <p:nvPr/>
          </p:nvGrpSpPr>
          <p:grpSpPr>
            <a:xfrm>
              <a:off x="218760" y="4365585"/>
              <a:ext cx="270036" cy="255036"/>
              <a:chOff x="5499125" y="4350600"/>
              <a:chExt cx="444650" cy="419950"/>
            </a:xfrm>
          </p:grpSpPr>
          <p:sp>
            <p:nvSpPr>
              <p:cNvPr id="169" name="Google Shape;169;p4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0" name="Google Shape;170;p4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1" name="Google Shape;171;p4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2" name="Google Shape;172;p4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3" name="Google Shape;173;p4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4" name="Google Shape;174;p4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5" name="Google Shape;175;p4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6" name="Google Shape;176;p4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77" name="Google Shape;177;p4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78" name="Google Shape;178;p4"/>
            <p:cNvGrpSpPr/>
            <p:nvPr/>
          </p:nvGrpSpPr>
          <p:grpSpPr>
            <a:xfrm>
              <a:off x="218760" y="4026410"/>
              <a:ext cx="270036" cy="255036"/>
              <a:chOff x="5499125" y="4350600"/>
              <a:chExt cx="444650" cy="419950"/>
            </a:xfrm>
          </p:grpSpPr>
          <p:sp>
            <p:nvSpPr>
              <p:cNvPr id="179" name="Google Shape;179;p4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0" name="Google Shape;180;p4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1" name="Google Shape;181;p4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2" name="Google Shape;182;p4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3" name="Google Shape;183;p4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4" name="Google Shape;184;p4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5" name="Google Shape;185;p4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6" name="Google Shape;186;p4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87" name="Google Shape;187;p4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88" name="Google Shape;188;p4"/>
            <p:cNvGrpSpPr/>
            <p:nvPr/>
          </p:nvGrpSpPr>
          <p:grpSpPr>
            <a:xfrm>
              <a:off x="218760" y="3692060"/>
              <a:ext cx="270036" cy="255036"/>
              <a:chOff x="5499125" y="4350600"/>
              <a:chExt cx="444650" cy="419950"/>
            </a:xfrm>
          </p:grpSpPr>
          <p:sp>
            <p:nvSpPr>
              <p:cNvPr id="189" name="Google Shape;189;p4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0" name="Google Shape;190;p4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1" name="Google Shape;191;p4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2" name="Google Shape;192;p4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3" name="Google Shape;193;p4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4" name="Google Shape;194;p4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5" name="Google Shape;195;p4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6" name="Google Shape;196;p4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197" name="Google Shape;197;p4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198" name="Google Shape;198;p4"/>
            <p:cNvGrpSpPr/>
            <p:nvPr/>
          </p:nvGrpSpPr>
          <p:grpSpPr>
            <a:xfrm>
              <a:off x="218760" y="3352885"/>
              <a:ext cx="270036" cy="255036"/>
              <a:chOff x="5499125" y="4350600"/>
              <a:chExt cx="444650" cy="419950"/>
            </a:xfrm>
          </p:grpSpPr>
          <p:sp>
            <p:nvSpPr>
              <p:cNvPr id="199" name="Google Shape;199;p4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0" name="Google Shape;200;p4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1" name="Google Shape;201;p4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2" name="Google Shape;202;p4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3" name="Google Shape;203;p4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4" name="Google Shape;204;p4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5" name="Google Shape;205;p4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6" name="Google Shape;206;p4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07" name="Google Shape;207;p4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208" name="Google Shape;208;p4"/>
            <p:cNvGrpSpPr/>
            <p:nvPr/>
          </p:nvGrpSpPr>
          <p:grpSpPr>
            <a:xfrm>
              <a:off x="218760" y="3013710"/>
              <a:ext cx="270036" cy="255036"/>
              <a:chOff x="5499125" y="4350600"/>
              <a:chExt cx="444650" cy="419950"/>
            </a:xfrm>
          </p:grpSpPr>
          <p:sp>
            <p:nvSpPr>
              <p:cNvPr id="209" name="Google Shape;209;p4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0" name="Google Shape;210;p4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1" name="Google Shape;211;p4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2" name="Google Shape;212;p4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3" name="Google Shape;213;p4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4" name="Google Shape;214;p4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5" name="Google Shape;215;p4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6" name="Google Shape;216;p4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17" name="Google Shape;217;p4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  <p:grpSp>
          <p:nvGrpSpPr>
            <p:cNvPr id="218" name="Google Shape;218;p4"/>
            <p:cNvGrpSpPr/>
            <p:nvPr/>
          </p:nvGrpSpPr>
          <p:grpSpPr>
            <a:xfrm>
              <a:off x="218760" y="2674535"/>
              <a:ext cx="270036" cy="255036"/>
              <a:chOff x="5499125" y="4350600"/>
              <a:chExt cx="444650" cy="419950"/>
            </a:xfrm>
          </p:grpSpPr>
          <p:sp>
            <p:nvSpPr>
              <p:cNvPr id="219" name="Google Shape;219;p4"/>
              <p:cNvSpPr/>
              <p:nvPr/>
            </p:nvSpPr>
            <p:spPr>
              <a:xfrm>
                <a:off x="549912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0" name="Google Shape;220;p4"/>
              <p:cNvSpPr/>
              <p:nvPr/>
            </p:nvSpPr>
            <p:spPr>
              <a:xfrm>
                <a:off x="5691750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1" name="Google Shape;221;p4"/>
              <p:cNvSpPr/>
              <p:nvPr/>
            </p:nvSpPr>
            <p:spPr>
              <a:xfrm>
                <a:off x="5884375" y="435060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2" name="Google Shape;222;p4"/>
              <p:cNvSpPr/>
              <p:nvPr/>
            </p:nvSpPr>
            <p:spPr>
              <a:xfrm>
                <a:off x="549912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3" name="Google Shape;223;p4"/>
              <p:cNvSpPr/>
              <p:nvPr/>
            </p:nvSpPr>
            <p:spPr>
              <a:xfrm>
                <a:off x="5691750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4" name="Google Shape;224;p4"/>
              <p:cNvSpPr/>
              <p:nvPr/>
            </p:nvSpPr>
            <p:spPr>
              <a:xfrm>
                <a:off x="5884375" y="4530875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5" name="Google Shape;225;p4"/>
              <p:cNvSpPr/>
              <p:nvPr/>
            </p:nvSpPr>
            <p:spPr>
              <a:xfrm>
                <a:off x="549912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6" name="Google Shape;226;p4"/>
              <p:cNvSpPr/>
              <p:nvPr/>
            </p:nvSpPr>
            <p:spPr>
              <a:xfrm>
                <a:off x="5691750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  <p:sp>
            <p:nvSpPr>
              <p:cNvPr id="227" name="Google Shape;227;p4"/>
              <p:cNvSpPr/>
              <p:nvPr/>
            </p:nvSpPr>
            <p:spPr>
              <a:xfrm>
                <a:off x="5884375" y="4711150"/>
                <a:ext cx="59400" cy="59400"/>
              </a:xfrm>
              <a:prstGeom prst="ellipse">
                <a:avLst/>
              </a:prstGeom>
              <a:solidFill>
                <a:srgbClr val="F9F586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/>
              </a:p>
            </p:txBody>
          </p:sp>
        </p:grpSp>
      </p:grpSp>
      <p:sp>
        <p:nvSpPr>
          <p:cNvPr id="229" name="Google Shape;229;p4"/>
          <p:cNvSpPr txBox="1">
            <a:spLocks noGrp="1"/>
          </p:cNvSpPr>
          <p:nvPr>
            <p:ph type="ctrTitle" idx="2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100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70" name="Slide Number Placeholder 5">
            <a:extLst>
              <a:ext uri="{FF2B5EF4-FFF2-40B4-BE49-F238E27FC236}">
                <a16:creationId xmlns:a16="http://schemas.microsoft.com/office/drawing/2014/main" id="{65EB2A53-E20C-4034-8447-76BC3886662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3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29627272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78">
          <p15:clr>
            <a:srgbClr val="FA7B17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Numbers">
  <p:cSld name="Three Numbers">
    <p:bg>
      <p:bgPr>
        <a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6"/>
          <p:cNvSpPr txBox="1">
            <a:spLocks noGrp="1"/>
          </p:cNvSpPr>
          <p:nvPr>
            <p:ph type="title" hasCustomPrompt="1"/>
          </p:nvPr>
        </p:nvSpPr>
        <p:spPr>
          <a:xfrm>
            <a:off x="4996800" y="661843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3" name="Google Shape;103;p26"/>
          <p:cNvSpPr txBox="1">
            <a:spLocks noGrp="1"/>
          </p:cNvSpPr>
          <p:nvPr>
            <p:ph type="subTitle" idx="1"/>
          </p:nvPr>
        </p:nvSpPr>
        <p:spPr>
          <a:xfrm>
            <a:off x="4911000" y="126585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04" name="Google Shape;104;p26"/>
          <p:cNvSpPr txBox="1">
            <a:spLocks noGrp="1"/>
          </p:cNvSpPr>
          <p:nvPr>
            <p:ph type="title" idx="2" hasCustomPrompt="1"/>
          </p:nvPr>
        </p:nvSpPr>
        <p:spPr>
          <a:xfrm>
            <a:off x="4996800" y="2099193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5" name="Google Shape;105;p26"/>
          <p:cNvSpPr txBox="1">
            <a:spLocks noGrp="1"/>
          </p:cNvSpPr>
          <p:nvPr>
            <p:ph type="subTitle" idx="3"/>
          </p:nvPr>
        </p:nvSpPr>
        <p:spPr>
          <a:xfrm>
            <a:off x="4911000" y="270320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06" name="Google Shape;106;p26"/>
          <p:cNvSpPr txBox="1">
            <a:spLocks noGrp="1"/>
          </p:cNvSpPr>
          <p:nvPr>
            <p:ph type="title" idx="4" hasCustomPrompt="1"/>
          </p:nvPr>
        </p:nvSpPr>
        <p:spPr>
          <a:xfrm>
            <a:off x="4996800" y="3536543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7" name="Google Shape;107;p26"/>
          <p:cNvSpPr txBox="1">
            <a:spLocks noGrp="1"/>
          </p:cNvSpPr>
          <p:nvPr>
            <p:ph type="subTitle" idx="5"/>
          </p:nvPr>
        </p:nvSpPr>
        <p:spPr>
          <a:xfrm>
            <a:off x="4911000" y="414055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3354061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Content" type="obj">
  <p:cSld name="Title and Content">
    <p:spTree>
      <p:nvGrpSpPr>
        <p:cNvPr id="1" name="Shape 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Google Shape;16;p19"/>
          <p:cNvSpPr txBox="1"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19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" name="Google Shape;18;p19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19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" name="Google Shape;20;p19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A955FDD-16DC-47C2-B030-E2F6054B9841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BEEF7878-0E6A-4144-96E3-0274D858BAA1}"/>
              </a:ext>
            </a:extLst>
          </p:cNvPr>
          <p:cNvSpPr txBox="1">
            <a:spLocks/>
          </p:cNvSpPr>
          <p:nvPr userDrawn="1"/>
        </p:nvSpPr>
        <p:spPr>
          <a:xfrm>
            <a:off x="619945" y="48843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55271582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mparison" type="twoTxTwoObj">
  <p:cSld name="Comparison">
    <p:spTree>
      <p:nvGrpSpPr>
        <p:cNvPr id="1" name="Shape 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Google Shape;41;p23"/>
          <p:cNvSpPr txBox="1">
            <a:spLocks noGrp="1"/>
          </p:cNvSpPr>
          <p:nvPr>
            <p:ph type="title"/>
          </p:nvPr>
        </p:nvSpPr>
        <p:spPr>
          <a:xfrm>
            <a:off x="629841" y="273846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" name="Google Shape;42;p23"/>
          <p:cNvSpPr txBox="1"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43" name="Google Shape;43;p23"/>
          <p:cNvSpPr txBox="1">
            <a:spLocks noGrp="1"/>
          </p:cNvSpPr>
          <p:nvPr>
            <p:ph type="body" idx="2"/>
          </p:nvPr>
        </p:nvSpPr>
        <p:spPr>
          <a:xfrm>
            <a:off x="629842" y="1878806"/>
            <a:ext cx="3868340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23"/>
          <p:cNvSpPr txBox="1">
            <a:spLocks noGrp="1"/>
          </p:cNvSpPr>
          <p:nvPr>
            <p:ph type="body" idx="3"/>
          </p:nvPr>
        </p:nvSpPr>
        <p:spPr>
          <a:xfrm>
            <a:off x="4629151" y="1260872"/>
            <a:ext cx="3887391" cy="6179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 b="1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None/>
              <a:defRPr sz="1500" b="1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 sz="1350" b="1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 b="1"/>
            </a:lvl9pPr>
          </a:lstStyle>
          <a:p>
            <a:endParaRPr/>
          </a:p>
        </p:txBody>
      </p:sp>
      <p:sp>
        <p:nvSpPr>
          <p:cNvPr id="45" name="Google Shape;45;p23"/>
          <p:cNvSpPr txBox="1">
            <a:spLocks noGrp="1"/>
          </p:cNvSpPr>
          <p:nvPr>
            <p:ph type="body" idx="4"/>
          </p:nvPr>
        </p:nvSpPr>
        <p:spPr>
          <a:xfrm>
            <a:off x="4629151" y="1878806"/>
            <a:ext cx="3887391" cy="276344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" name="Google Shape;46;p23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23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" name="Google Shape;48;p23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3C959E3-E178-4545-8D4D-85D39CB6B132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2376414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Only" type="titleOnly">
  <p:cSld name="Title Only"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" name="Google Shape;50;p24"/>
          <p:cNvSpPr txBox="1"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" name="Google Shape;51;p24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" name="Google Shape;52;p24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" name="Google Shape;53;p24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BABE0F-D9A4-4819-8420-DC2178ED9E52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0938769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Blank" type="blank">
  <p:cSld name="Blank"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25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6" name="Google Shape;56;p25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" name="Google Shape;57;p25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CADF4F9-0D37-4740-B223-D2914C07F0DE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2827583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with Caption" type="objTx">
  <p:cSld name="Content with Caption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26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26"/>
          <p:cNvSpPr txBox="1">
            <a:spLocks noGrp="1"/>
          </p:cNvSpPr>
          <p:nvPr>
            <p:ph type="body" idx="1"/>
          </p:nvPr>
        </p:nvSpPr>
        <p:spPr>
          <a:xfrm>
            <a:off x="3887391" y="740571"/>
            <a:ext cx="4629150" cy="365521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3200"/>
              <a:buChar char="•"/>
              <a:defRPr sz="2400"/>
            </a:lvl1pPr>
            <a:lvl2pPr marL="685800" lvl="1" indent="-3048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800"/>
              <a:buChar char="•"/>
              <a:defRPr sz="2100"/>
            </a:lvl2pPr>
            <a:lvl3pPr marL="1028700" lvl="2" indent="-2857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 sz="1800"/>
            </a:lvl3pPr>
            <a:lvl4pPr marL="1371600" lvl="3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4pPr>
            <a:lvl5pPr marL="1714500" lvl="4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5pPr>
            <a:lvl6pPr marL="2057400" lvl="5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6pPr>
            <a:lvl7pPr marL="2400300" lvl="6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7pPr>
            <a:lvl8pPr marL="2743200" lvl="7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8pPr>
            <a:lvl9pPr marL="3086100" lvl="8" indent="-2667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1500"/>
            </a:lvl9pPr>
          </a:lstStyle>
          <a:p>
            <a:endParaRPr/>
          </a:p>
        </p:txBody>
      </p:sp>
      <p:sp>
        <p:nvSpPr>
          <p:cNvPr id="61" name="Google Shape;61;p26"/>
          <p:cNvSpPr txBox="1">
            <a:spLocks noGrp="1"/>
          </p:cNvSpPr>
          <p:nvPr>
            <p:ph type="body" idx="2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62" name="Google Shape;62;p26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26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26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305E46E-8935-4F54-8D47-6128812D89FD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8216113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7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7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1" name="Google Shape;31;p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Picture with Caption" type="picTx">
  <p:cSld name="Picture with Caption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Google Shape;66;p27"/>
          <p:cNvSpPr txBox="1"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Calibri"/>
              <a:buNone/>
              <a:defRPr sz="24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" name="Google Shape;67;p27"/>
          <p:cNvSpPr>
            <a:spLocks noGrp="1"/>
          </p:cNvSpPr>
          <p:nvPr>
            <p:ph type="pic" idx="2"/>
          </p:nvPr>
        </p:nvSpPr>
        <p:spPr>
          <a:xfrm>
            <a:off x="3887391" y="740571"/>
            <a:ext cx="4629150" cy="3655219"/>
          </a:xfrm>
          <a:prstGeom prst="rect">
            <a:avLst/>
          </a:prstGeom>
          <a:noFill/>
          <a:ln>
            <a:noFill/>
          </a:ln>
        </p:spPr>
      </p:sp>
      <p:sp>
        <p:nvSpPr>
          <p:cNvPr id="68" name="Google Shape;68;p27"/>
          <p:cNvSpPr txBox="1">
            <a:spLocks noGrp="1"/>
          </p:cNvSpPr>
          <p:nvPr>
            <p:ph type="body" idx="1"/>
          </p:nvPr>
        </p:nvSpPr>
        <p:spPr>
          <a:xfrm>
            <a:off x="629841" y="1543050"/>
            <a:ext cx="2949178" cy="285869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200"/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 sz="1050"/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900"/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69" name="Google Shape;69;p27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27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" name="Google Shape;71;p27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0366748-986B-44A9-9272-D842DBC5D7C5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45730752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Vertical Text" type="vertTx">
  <p:cSld name="Title and Vertical Text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" name="Google Shape;73;p28"/>
          <p:cNvSpPr txBox="1"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" name="Google Shape;74;p28"/>
          <p:cNvSpPr txBox="1">
            <a:spLocks noGrp="1"/>
          </p:cNvSpPr>
          <p:nvPr>
            <p:ph type="body" idx="1"/>
          </p:nvPr>
        </p:nvSpPr>
        <p:spPr>
          <a:xfrm rot="5400000">
            <a:off x="2940248" y="-942380"/>
            <a:ext cx="3263504" cy="7886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" name="Google Shape;75;p28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" name="Google Shape;76;p28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" name="Google Shape;77;p28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37516CF3-CA5E-4E47-991E-D816BA508E80}"/>
              </a:ext>
            </a:extLst>
          </p:cNvPr>
          <p:cNvSpPr txBox="1">
            <a:spLocks/>
          </p:cNvSpPr>
          <p:nvPr userDrawn="1"/>
        </p:nvSpPr>
        <p:spPr>
          <a:xfrm>
            <a:off x="467545" y="4748035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7441764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Vertical Title and Text" type="vertTitleAndTx">
  <p:cSld name="Vertical Title and Text"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9"/>
          <p:cNvSpPr txBox="1">
            <a:spLocks noGrp="1"/>
          </p:cNvSpPr>
          <p:nvPr>
            <p:ph type="title"/>
          </p:nvPr>
        </p:nvSpPr>
        <p:spPr>
          <a:xfrm rot="5400000">
            <a:off x="5350074" y="1467446"/>
            <a:ext cx="4358879" cy="19716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0" name="Google Shape;80;p29"/>
          <p:cNvSpPr txBox="1">
            <a:spLocks noGrp="1"/>
          </p:cNvSpPr>
          <p:nvPr>
            <p:ph type="body" idx="1"/>
          </p:nvPr>
        </p:nvSpPr>
        <p:spPr>
          <a:xfrm rot="5400000">
            <a:off x="1349574" y="-447080"/>
            <a:ext cx="4358879" cy="58007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257175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685800" lvl="1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028700" lvl="2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371600" lvl="3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1714500" lvl="4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057400" lvl="5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400300" lvl="6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743200" lvl="7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086100" lvl="8" indent="-257175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1" name="Google Shape;81;p29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29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" name="Google Shape;83;p29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FA90107-EFB3-480A-9A1D-D168B4F46D8D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26954708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Four columns 1">
  <p:cSld name="Four columns 1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5"/>
          <p:cNvSpPr txBox="1">
            <a:spLocks noGrp="1"/>
          </p:cNvSpPr>
          <p:nvPr>
            <p:ph type="ctrTitle"/>
          </p:nvPr>
        </p:nvSpPr>
        <p:spPr>
          <a:xfrm>
            <a:off x="631875" y="842025"/>
            <a:ext cx="287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9pPr>
          </a:lstStyle>
          <a:p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subTitle" idx="1"/>
          </p:nvPr>
        </p:nvSpPr>
        <p:spPr>
          <a:xfrm>
            <a:off x="631884" y="1410841"/>
            <a:ext cx="2480700" cy="537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4" name="Google Shape;34;p5"/>
          <p:cNvSpPr txBox="1">
            <a:spLocks noGrp="1"/>
          </p:cNvSpPr>
          <p:nvPr>
            <p:ph type="ctrTitle" idx="2"/>
          </p:nvPr>
        </p:nvSpPr>
        <p:spPr>
          <a:xfrm>
            <a:off x="4213664" y="842025"/>
            <a:ext cx="26979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9pPr>
          </a:lstStyle>
          <a:p>
            <a:endParaRPr/>
          </a:p>
        </p:txBody>
      </p:sp>
      <p:sp>
        <p:nvSpPr>
          <p:cNvPr id="35" name="Google Shape;35;p5"/>
          <p:cNvSpPr txBox="1">
            <a:spLocks noGrp="1"/>
          </p:cNvSpPr>
          <p:nvPr>
            <p:ph type="subTitle" idx="3"/>
          </p:nvPr>
        </p:nvSpPr>
        <p:spPr>
          <a:xfrm>
            <a:off x="4213664" y="1410841"/>
            <a:ext cx="2586000" cy="74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6" name="Google Shape;36;p5"/>
          <p:cNvSpPr txBox="1">
            <a:spLocks noGrp="1"/>
          </p:cNvSpPr>
          <p:nvPr>
            <p:ph type="ctrTitle" idx="4"/>
          </p:nvPr>
        </p:nvSpPr>
        <p:spPr>
          <a:xfrm>
            <a:off x="631883" y="3331927"/>
            <a:ext cx="28713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9pPr>
          </a:lstStyle>
          <a:p>
            <a:endParaRPr/>
          </a:p>
        </p:txBody>
      </p:sp>
      <p:sp>
        <p:nvSpPr>
          <p:cNvPr id="37" name="Google Shape;37;p5"/>
          <p:cNvSpPr txBox="1">
            <a:spLocks noGrp="1"/>
          </p:cNvSpPr>
          <p:nvPr>
            <p:ph type="subTitle" idx="5"/>
          </p:nvPr>
        </p:nvSpPr>
        <p:spPr>
          <a:xfrm>
            <a:off x="631884" y="3914208"/>
            <a:ext cx="2480700" cy="946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9pPr>
          </a:lstStyle>
          <a:p>
            <a:endParaRPr/>
          </a:p>
        </p:txBody>
      </p:sp>
      <p:sp>
        <p:nvSpPr>
          <p:cNvPr id="38" name="Google Shape;38;p5"/>
          <p:cNvSpPr txBox="1">
            <a:spLocks noGrp="1"/>
          </p:cNvSpPr>
          <p:nvPr>
            <p:ph type="ctrTitle" idx="6"/>
          </p:nvPr>
        </p:nvSpPr>
        <p:spPr>
          <a:xfrm rot="5400000">
            <a:off x="6685437" y="1646270"/>
            <a:ext cx="2913300" cy="4875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2250"/>
            </a:lvl9pPr>
          </a:lstStyle>
          <a:p>
            <a:endParaRPr/>
          </a:p>
        </p:txBody>
      </p:sp>
      <p:sp>
        <p:nvSpPr>
          <p:cNvPr id="39" name="Google Shape;39;p5"/>
          <p:cNvSpPr txBox="1">
            <a:spLocks noGrp="1"/>
          </p:cNvSpPr>
          <p:nvPr>
            <p:ph type="ctrTitle" idx="7"/>
          </p:nvPr>
        </p:nvSpPr>
        <p:spPr>
          <a:xfrm>
            <a:off x="4213664" y="3331934"/>
            <a:ext cx="2586000" cy="644700"/>
          </a:xfrm>
          <a:prstGeom prst="rect">
            <a:avLst/>
          </a:prstGeom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1350"/>
            </a:lvl9pPr>
          </a:lstStyle>
          <a:p>
            <a:endParaRPr/>
          </a:p>
        </p:txBody>
      </p:sp>
      <p:sp>
        <p:nvSpPr>
          <p:cNvPr id="40" name="Google Shape;40;p5"/>
          <p:cNvSpPr txBox="1">
            <a:spLocks noGrp="1"/>
          </p:cNvSpPr>
          <p:nvPr>
            <p:ph type="subTitle" idx="8"/>
          </p:nvPr>
        </p:nvSpPr>
        <p:spPr>
          <a:xfrm>
            <a:off x="4213664" y="3914208"/>
            <a:ext cx="2586000" cy="7455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75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409990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+ BLANK SLIDE">
  <p:cSld name="TITLE + BLANK SLIDE">
    <p:spTree>
      <p:nvGrpSpPr>
        <p:cNvPr id="1" name="Shape 3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3" name="Google Shape;313;p10"/>
          <p:cNvSpPr/>
          <p:nvPr/>
        </p:nvSpPr>
        <p:spPr>
          <a:xfrm>
            <a:off x="7698875" y="240886"/>
            <a:ext cx="1188000" cy="1023600"/>
          </a:xfrm>
          <a:prstGeom prst="rect">
            <a:avLst/>
          </a:prstGeom>
          <a:noFill/>
          <a:ln w="19050" cap="flat" cmpd="sng">
            <a:solidFill>
              <a:srgbClr val="434343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/>
          </a:p>
        </p:txBody>
      </p:sp>
      <p:sp>
        <p:nvSpPr>
          <p:cNvPr id="314" name="Google Shape;314;p10"/>
          <p:cNvSpPr/>
          <p:nvPr/>
        </p:nvSpPr>
        <p:spPr>
          <a:xfrm rot="-4988467" flipH="1">
            <a:off x="7557513" y="255678"/>
            <a:ext cx="1631327" cy="1178371"/>
          </a:xfrm>
          <a:custGeom>
            <a:avLst/>
            <a:gdLst/>
            <a:ahLst/>
            <a:cxnLst/>
            <a:rect l="l" t="t" r="r" b="b"/>
            <a:pathLst>
              <a:path w="74501" h="53815" extrusionOk="0">
                <a:moveTo>
                  <a:pt x="58798" y="1"/>
                </a:moveTo>
                <a:cubicBezTo>
                  <a:pt x="55350" y="1"/>
                  <a:pt x="52007" y="2022"/>
                  <a:pt x="49551" y="5773"/>
                </a:cubicBezTo>
                <a:cubicBezTo>
                  <a:pt x="44954" y="12924"/>
                  <a:pt x="42399" y="13947"/>
                  <a:pt x="34225" y="14966"/>
                </a:cubicBezTo>
                <a:cubicBezTo>
                  <a:pt x="33916" y="14997"/>
                  <a:pt x="33566" y="15011"/>
                  <a:pt x="33179" y="15011"/>
                </a:cubicBezTo>
                <a:cubicBezTo>
                  <a:pt x="31945" y="15011"/>
                  <a:pt x="30339" y="14878"/>
                  <a:pt x="28505" y="14742"/>
                </a:cubicBezTo>
                <a:cubicBezTo>
                  <a:pt x="26666" y="14606"/>
                  <a:pt x="24601" y="14473"/>
                  <a:pt x="22447" y="14473"/>
                </a:cubicBezTo>
                <a:cubicBezTo>
                  <a:pt x="16226" y="14473"/>
                  <a:pt x="9286" y="15598"/>
                  <a:pt x="5111" y="21098"/>
                </a:cubicBezTo>
                <a:cubicBezTo>
                  <a:pt x="1" y="28250"/>
                  <a:pt x="3405" y="41700"/>
                  <a:pt x="9024" y="46300"/>
                </a:cubicBezTo>
                <a:cubicBezTo>
                  <a:pt x="15166" y="51446"/>
                  <a:pt x="23449" y="53814"/>
                  <a:pt x="31915" y="53814"/>
                </a:cubicBezTo>
                <a:cubicBezTo>
                  <a:pt x="47393" y="53814"/>
                  <a:pt x="63487" y="45905"/>
                  <a:pt x="68246" y="32598"/>
                </a:cubicBezTo>
                <a:cubicBezTo>
                  <a:pt x="70607" y="25990"/>
                  <a:pt x="74500" y="14800"/>
                  <a:pt x="68450" y="6028"/>
                </a:cubicBezTo>
                <a:cubicBezTo>
                  <a:pt x="65616" y="1920"/>
                  <a:pt x="62158" y="1"/>
                  <a:pt x="58798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/>
          </a:p>
        </p:txBody>
      </p:sp>
      <p:sp>
        <p:nvSpPr>
          <p:cNvPr id="315" name="Google Shape;315;p10"/>
          <p:cNvSpPr/>
          <p:nvPr/>
        </p:nvSpPr>
        <p:spPr>
          <a:xfrm rot="-1115919">
            <a:off x="7381772" y="785323"/>
            <a:ext cx="632520" cy="397403"/>
          </a:xfrm>
          <a:custGeom>
            <a:avLst/>
            <a:gdLst/>
            <a:ahLst/>
            <a:cxnLst/>
            <a:rect l="l" t="t" r="r" b="b"/>
            <a:pathLst>
              <a:path w="31313" h="19675" extrusionOk="0">
                <a:moveTo>
                  <a:pt x="17989" y="1"/>
                </a:moveTo>
                <a:cubicBezTo>
                  <a:pt x="16287" y="1"/>
                  <a:pt x="14385" y="279"/>
                  <a:pt x="12312" y="918"/>
                </a:cubicBezTo>
                <a:cubicBezTo>
                  <a:pt x="4573" y="3299"/>
                  <a:pt x="0" y="14884"/>
                  <a:pt x="4638" y="18356"/>
                </a:cubicBezTo>
                <a:cubicBezTo>
                  <a:pt x="5888" y="19290"/>
                  <a:pt x="6982" y="19674"/>
                  <a:pt x="7970" y="19674"/>
                </a:cubicBezTo>
                <a:cubicBezTo>
                  <a:pt x="11932" y="19674"/>
                  <a:pt x="14167" y="13528"/>
                  <a:pt x="17891" y="12414"/>
                </a:cubicBezTo>
                <a:cubicBezTo>
                  <a:pt x="31313" y="10773"/>
                  <a:pt x="28586" y="1"/>
                  <a:pt x="17989" y="1"/>
                </a:cubicBezTo>
                <a:close/>
              </a:path>
            </a:pathLst>
          </a:custGeom>
          <a:solidFill>
            <a:srgbClr val="F9F586"/>
          </a:solidFill>
          <a:ln>
            <a:noFill/>
          </a:ln>
        </p:spPr>
        <p:txBody>
          <a:bodyPr spcFirstLastPara="1" wrap="square" lIns="68569" tIns="68569" rIns="68569" bIns="68569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1350"/>
          </a:p>
        </p:txBody>
      </p:sp>
      <p:sp>
        <p:nvSpPr>
          <p:cNvPr id="317" name="Google Shape;317;p10"/>
          <p:cNvSpPr txBox="1">
            <a:spLocks noGrp="1"/>
          </p:cNvSpPr>
          <p:nvPr>
            <p:ph type="ctrTitle"/>
          </p:nvPr>
        </p:nvSpPr>
        <p:spPr>
          <a:xfrm>
            <a:off x="7865010" y="680100"/>
            <a:ext cx="9642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000"/>
              <a:buNone/>
              <a:defRPr sz="750">
                <a:solidFill>
                  <a:srgbClr val="434343"/>
                </a:solidFill>
              </a:defRPr>
            </a:lvl9pPr>
          </a:lstStyle>
          <a:p>
            <a:endParaRPr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2900F5A-DC5D-4349-87B9-FFBDA66771ED}"/>
              </a:ext>
            </a:extLst>
          </p:cNvPr>
          <p:cNvSpPr txBox="1">
            <a:spLocks/>
          </p:cNvSpPr>
          <p:nvPr userDrawn="1"/>
        </p:nvSpPr>
        <p:spPr>
          <a:xfrm>
            <a:off x="467545" y="4731993"/>
            <a:ext cx="397148" cy="309847"/>
          </a:xfrm>
          <a:prstGeom prst="rect">
            <a:avLst/>
          </a:prstGeom>
        </p:spPr>
        <p:txBody>
          <a:bodyPr vert="horz" lIns="51435" tIns="25718" rIns="51435" bIns="257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4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8C440BC-BCAB-415D-92DA-176675AB4FF8}" type="slidenum">
              <a:rPr lang="en-IN" sz="788" smtClean="0"/>
              <a:pPr/>
              <a:t>‹#›</a:t>
            </a:fld>
            <a:endParaRPr lang="en-IN" sz="788" dirty="0"/>
          </a:p>
        </p:txBody>
      </p:sp>
    </p:spTree>
    <p:extLst>
      <p:ext uri="{BB962C8B-B14F-4D97-AF65-F5344CB8AC3E}">
        <p14:creationId xmlns:p14="http://schemas.microsoft.com/office/powerpoint/2010/main" val="425846805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+ Text">
  <p:cSld name="Title + Text">
    <p:spTree>
      <p:nvGrpSpPr>
        <p:cNvPr id="1" name="Shape 1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" name="Google Shape;133;p29"/>
          <p:cNvSpPr txBox="1">
            <a:spLocks noGrp="1"/>
          </p:cNvSpPr>
          <p:nvPr>
            <p:ph type="subTitle" idx="1"/>
          </p:nvPr>
        </p:nvSpPr>
        <p:spPr>
          <a:xfrm>
            <a:off x="5817050" y="2435925"/>
            <a:ext cx="2556300" cy="2048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>
                <a:solidFill>
                  <a:schemeClr val="l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None/>
              <a:defRPr sz="1350"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134" name="Google Shape;134;p29"/>
          <p:cNvSpPr txBox="1">
            <a:spLocks noGrp="1"/>
          </p:cNvSpPr>
          <p:nvPr>
            <p:ph type="title"/>
          </p:nvPr>
        </p:nvSpPr>
        <p:spPr>
          <a:xfrm>
            <a:off x="938500" y="445025"/>
            <a:ext cx="4629300" cy="941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400"/>
              <a:buNone/>
              <a:defRPr sz="1800">
                <a:solidFill>
                  <a:schemeClr val="accent1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None/>
              <a:defRPr>
                <a:solidFill>
                  <a:schemeClr val="lt1"/>
                </a:solidFill>
              </a:defRPr>
            </a:lvl9pPr>
          </a:lstStyle>
          <a:p>
            <a:endParaRPr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F9FE0616-5B87-47D3-A4A9-1D0C08AD80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3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68124271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F99C46A-7B9A-4FA3-A125-53ABA7D628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3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966290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 Header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11"/>
          <p:cNvSpPr txBox="1">
            <a:spLocks noGrp="1"/>
          </p:cNvSpPr>
          <p:nvPr>
            <p:ph type="title"/>
          </p:nvPr>
        </p:nvSpPr>
        <p:spPr>
          <a:xfrm>
            <a:off x="623888" y="1282305"/>
            <a:ext cx="7886700" cy="21395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0"/>
              <a:buFont typeface="Calibri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11"/>
          <p:cNvSpPr txBox="1">
            <a:spLocks noGrp="1"/>
          </p:cNvSpPr>
          <p:nvPr>
            <p:ph type="body" idx="1"/>
          </p:nvPr>
        </p:nvSpPr>
        <p:spPr>
          <a:xfrm>
            <a:off x="623888" y="3442099"/>
            <a:ext cx="7886700" cy="1125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342900" lvl="0" indent="-1714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2400"/>
              <a:buNone/>
              <a:defRPr sz="1800">
                <a:solidFill>
                  <a:schemeClr val="dk1"/>
                </a:solidFill>
              </a:defRPr>
            </a:lvl1pPr>
            <a:lvl2pPr marL="685800" lvl="1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2000"/>
              <a:buNone/>
              <a:defRPr sz="1500">
                <a:solidFill>
                  <a:srgbClr val="888888"/>
                </a:solidFill>
              </a:defRPr>
            </a:lvl2pPr>
            <a:lvl3pPr marL="1028700" lvl="2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800"/>
              <a:buNone/>
              <a:defRPr sz="1350">
                <a:solidFill>
                  <a:srgbClr val="888888"/>
                </a:solidFill>
              </a:defRPr>
            </a:lvl3pPr>
            <a:lvl4pPr marL="1371600" lvl="3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4pPr>
            <a:lvl5pPr marL="1714500" lvl="4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5pPr>
            <a:lvl6pPr marL="2057400" lvl="5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6pPr>
            <a:lvl7pPr marL="2400300" lvl="6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7pPr>
            <a:lvl8pPr marL="2743200" lvl="7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8pPr>
            <a:lvl9pPr marL="3086100" lvl="8" indent="-17145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88888"/>
              </a:buClr>
              <a:buSzPts val="1600"/>
              <a:buNone/>
              <a:defRPr sz="1200">
                <a:solidFill>
                  <a:srgbClr val="888888"/>
                </a:solidFill>
              </a:defRPr>
            </a:lvl9pPr>
          </a:lstStyle>
          <a:p>
            <a:endParaRPr/>
          </a:p>
        </p:txBody>
      </p:sp>
      <p:sp>
        <p:nvSpPr>
          <p:cNvPr id="31" name="Google Shape;31;p11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" name="Google Shape;32;p11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" name="Google Shape;33;p11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  <p:pic>
        <p:nvPicPr>
          <p:cNvPr id="34" name="Google Shape;34;p11"/>
          <p:cNvPicPr preferRelativeResize="0"/>
          <p:nvPr/>
        </p:nvPicPr>
        <p:blipFill rotWithShape="1"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301693" y="196885"/>
            <a:ext cx="815387" cy="309847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8909171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and six columns">
  <p:cSld name="Title and six columns"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8"/>
          <p:cNvSpPr txBox="1">
            <a:spLocks noGrp="1"/>
          </p:cNvSpPr>
          <p:nvPr>
            <p:ph type="title"/>
          </p:nvPr>
        </p:nvSpPr>
        <p:spPr>
          <a:xfrm>
            <a:off x="916225" y="2443810"/>
            <a:ext cx="18414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6" name="Google Shape;76;p18"/>
          <p:cNvSpPr txBox="1">
            <a:spLocks noGrp="1"/>
          </p:cNvSpPr>
          <p:nvPr>
            <p:ph type="subTitle" idx="1"/>
          </p:nvPr>
        </p:nvSpPr>
        <p:spPr>
          <a:xfrm>
            <a:off x="786275" y="1909450"/>
            <a:ext cx="21012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77" name="Google Shape;77;p18"/>
          <p:cNvSpPr txBox="1">
            <a:spLocks noGrp="1"/>
          </p:cNvSpPr>
          <p:nvPr>
            <p:ph type="title" idx="2"/>
          </p:nvPr>
        </p:nvSpPr>
        <p:spPr>
          <a:xfrm>
            <a:off x="6298374" y="2443810"/>
            <a:ext cx="18414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78" name="Google Shape;78;p18"/>
          <p:cNvSpPr txBox="1">
            <a:spLocks noGrp="1"/>
          </p:cNvSpPr>
          <p:nvPr>
            <p:ph type="subTitle" idx="3"/>
          </p:nvPr>
        </p:nvSpPr>
        <p:spPr>
          <a:xfrm>
            <a:off x="6080425" y="1909450"/>
            <a:ext cx="22773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79" name="Google Shape;79;p18"/>
          <p:cNvSpPr txBox="1">
            <a:spLocks noGrp="1"/>
          </p:cNvSpPr>
          <p:nvPr>
            <p:ph type="title" idx="4"/>
          </p:nvPr>
        </p:nvSpPr>
        <p:spPr>
          <a:xfrm>
            <a:off x="3607299" y="3872760"/>
            <a:ext cx="18414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0" name="Google Shape;80;p18"/>
          <p:cNvSpPr txBox="1">
            <a:spLocks noGrp="1"/>
          </p:cNvSpPr>
          <p:nvPr>
            <p:ph type="subTitle" idx="5"/>
          </p:nvPr>
        </p:nvSpPr>
        <p:spPr>
          <a:xfrm>
            <a:off x="3389350" y="3332250"/>
            <a:ext cx="22773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81" name="Google Shape;81;p18"/>
          <p:cNvSpPr txBox="1">
            <a:spLocks noGrp="1"/>
          </p:cNvSpPr>
          <p:nvPr>
            <p:ph type="title" idx="6"/>
          </p:nvPr>
        </p:nvSpPr>
        <p:spPr>
          <a:xfrm>
            <a:off x="3607299" y="2443810"/>
            <a:ext cx="18414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2" name="Google Shape;82;p18"/>
          <p:cNvSpPr txBox="1">
            <a:spLocks noGrp="1"/>
          </p:cNvSpPr>
          <p:nvPr>
            <p:ph type="subTitle" idx="7"/>
          </p:nvPr>
        </p:nvSpPr>
        <p:spPr>
          <a:xfrm>
            <a:off x="3389350" y="1909450"/>
            <a:ext cx="22773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83" name="Google Shape;83;p18"/>
          <p:cNvSpPr txBox="1">
            <a:spLocks noGrp="1"/>
          </p:cNvSpPr>
          <p:nvPr>
            <p:ph type="title" idx="8"/>
          </p:nvPr>
        </p:nvSpPr>
        <p:spPr>
          <a:xfrm>
            <a:off x="916225" y="3872760"/>
            <a:ext cx="18414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4" name="Google Shape;84;p18"/>
          <p:cNvSpPr txBox="1">
            <a:spLocks noGrp="1"/>
          </p:cNvSpPr>
          <p:nvPr>
            <p:ph type="subTitle" idx="9"/>
          </p:nvPr>
        </p:nvSpPr>
        <p:spPr>
          <a:xfrm>
            <a:off x="786325" y="3332250"/>
            <a:ext cx="21012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85" name="Google Shape;85;p18"/>
          <p:cNvSpPr txBox="1">
            <a:spLocks noGrp="1"/>
          </p:cNvSpPr>
          <p:nvPr>
            <p:ph type="title" idx="13"/>
          </p:nvPr>
        </p:nvSpPr>
        <p:spPr>
          <a:xfrm>
            <a:off x="6495924" y="3872763"/>
            <a:ext cx="1446300" cy="40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 i="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9pPr>
          </a:lstStyle>
          <a:p>
            <a:endParaRPr/>
          </a:p>
        </p:txBody>
      </p:sp>
      <p:sp>
        <p:nvSpPr>
          <p:cNvPr id="86" name="Google Shape;86;p18"/>
          <p:cNvSpPr txBox="1">
            <a:spLocks noGrp="1"/>
          </p:cNvSpPr>
          <p:nvPr>
            <p:ph type="subTitle" idx="14"/>
          </p:nvPr>
        </p:nvSpPr>
        <p:spPr>
          <a:xfrm>
            <a:off x="6080425" y="3332250"/>
            <a:ext cx="2277300" cy="5727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None/>
              <a:defRPr sz="1400">
                <a:solidFill>
                  <a:srgbClr val="F3F3F3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None/>
              <a:defRPr sz="14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87" name="Google Shape;87;p18"/>
          <p:cNvSpPr txBox="1">
            <a:spLocks noGrp="1"/>
          </p:cNvSpPr>
          <p:nvPr>
            <p:ph type="title" idx="15"/>
          </p:nvPr>
        </p:nvSpPr>
        <p:spPr>
          <a:xfrm>
            <a:off x="720100" y="5098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3000"/>
              <a:buNone/>
              <a:defRPr sz="3000">
                <a:solidFill>
                  <a:srgbClr val="F3F3F3"/>
                </a:solidFill>
              </a:defRPr>
            </a:lvl9pPr>
          </a:lstStyle>
          <a:p>
            <a:endParaRPr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2923AF38-3B0E-40EE-978C-15E62DA226B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467545" y="4731993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88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416661174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Numbers">
  <p:cSld name="Three Numbers">
    <p:bg>
      <p:bgPr>
        <a:blipFill>
          <a:blip r:embed="rId2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26"/>
          <p:cNvSpPr txBox="1">
            <a:spLocks noGrp="1"/>
          </p:cNvSpPr>
          <p:nvPr>
            <p:ph type="title" hasCustomPrompt="1"/>
          </p:nvPr>
        </p:nvSpPr>
        <p:spPr>
          <a:xfrm>
            <a:off x="4996800" y="661843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3" name="Google Shape;103;p26"/>
          <p:cNvSpPr txBox="1">
            <a:spLocks noGrp="1"/>
          </p:cNvSpPr>
          <p:nvPr>
            <p:ph type="subTitle" idx="1"/>
          </p:nvPr>
        </p:nvSpPr>
        <p:spPr>
          <a:xfrm>
            <a:off x="4911000" y="126585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04" name="Google Shape;104;p26"/>
          <p:cNvSpPr txBox="1">
            <a:spLocks noGrp="1"/>
          </p:cNvSpPr>
          <p:nvPr>
            <p:ph type="title" idx="2" hasCustomPrompt="1"/>
          </p:nvPr>
        </p:nvSpPr>
        <p:spPr>
          <a:xfrm>
            <a:off x="4996800" y="2099193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5" name="Google Shape;105;p26"/>
          <p:cNvSpPr txBox="1">
            <a:spLocks noGrp="1"/>
          </p:cNvSpPr>
          <p:nvPr>
            <p:ph type="subTitle" idx="3"/>
          </p:nvPr>
        </p:nvSpPr>
        <p:spPr>
          <a:xfrm>
            <a:off x="4911000" y="270320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  <p:sp>
        <p:nvSpPr>
          <p:cNvPr id="106" name="Google Shape;106;p26"/>
          <p:cNvSpPr txBox="1">
            <a:spLocks noGrp="1"/>
          </p:cNvSpPr>
          <p:nvPr>
            <p:ph type="title" idx="4" hasCustomPrompt="1"/>
          </p:nvPr>
        </p:nvSpPr>
        <p:spPr>
          <a:xfrm>
            <a:off x="4996800" y="3536543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None/>
              <a:defRPr sz="4800">
                <a:solidFill>
                  <a:schemeClr val="l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6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07" name="Google Shape;107;p26"/>
          <p:cNvSpPr txBox="1">
            <a:spLocks noGrp="1"/>
          </p:cNvSpPr>
          <p:nvPr>
            <p:ph type="subTitle" idx="5"/>
          </p:nvPr>
        </p:nvSpPr>
        <p:spPr>
          <a:xfrm>
            <a:off x="4911000" y="414055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None/>
              <a:defRPr sz="1400">
                <a:solidFill>
                  <a:schemeClr val="accent1"/>
                </a:solidFill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None/>
              <a:defRPr sz="2100">
                <a:solidFill>
                  <a:schemeClr val="accent1"/>
                </a:solidFill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17714232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8"/>
          <p:cNvSpPr txBox="1">
            <a:spLocks noGrp="1"/>
          </p:cNvSpPr>
          <p:nvPr>
            <p:ph type="title"/>
          </p:nvPr>
        </p:nvSpPr>
        <p:spPr>
          <a:xfrm>
            <a:off x="490250" y="450150"/>
            <a:ext cx="6367800" cy="4090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4800"/>
            </a:lvl9pPr>
          </a:lstStyle>
          <a:p>
            <a:endParaRPr/>
          </a:p>
        </p:txBody>
      </p:sp>
      <p:sp>
        <p:nvSpPr>
          <p:cNvPr id="34" name="Google Shape;34;p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oogle Shape;36;p9"/>
          <p:cNvSpPr/>
          <p:nvPr/>
        </p:nvSpPr>
        <p:spPr>
          <a:xfrm>
            <a:off x="4572000" y="25"/>
            <a:ext cx="4572000" cy="514350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37" name="Google Shape;37;p9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8" name="Google Shape;38;p9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9" name="Google Shape;39;p9"/>
          <p:cNvSpPr txBox="1">
            <a:spLocks noGrp="1"/>
          </p:cNvSpPr>
          <p:nvPr>
            <p:ph type="body" idx="2"/>
          </p:nvPr>
        </p:nvSpPr>
        <p:spPr>
          <a:xfrm>
            <a:off x="4939500" y="724200"/>
            <a:ext cx="3837000" cy="369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Char char="●"/>
              <a:defRPr>
                <a:solidFill>
                  <a:schemeClr val="dk1"/>
                </a:solidFill>
              </a:defRPr>
            </a:lvl1pPr>
            <a:lvl2pPr marL="914400" lvl="1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>
                <a:solidFill>
                  <a:schemeClr val="dk1"/>
                </a:solidFill>
              </a:defRPr>
            </a:lvl2pPr>
            <a:lvl3pPr marL="1371600" lvl="2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>
                <a:solidFill>
                  <a:schemeClr val="dk1"/>
                </a:solidFill>
              </a:defRPr>
            </a:lvl3pPr>
            <a:lvl4pPr marL="1828800" lvl="3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>
                <a:solidFill>
                  <a:schemeClr val="dk1"/>
                </a:solidFill>
              </a:defRPr>
            </a:lvl4pPr>
            <a:lvl5pPr marL="2286000" lvl="4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>
                <a:solidFill>
                  <a:schemeClr val="dk1"/>
                </a:solidFill>
              </a:defRPr>
            </a:lvl5pPr>
            <a:lvl6pPr marL="2743200" lvl="5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>
                <a:solidFill>
                  <a:schemeClr val="dk1"/>
                </a:solidFill>
              </a:defRPr>
            </a:lvl6pPr>
            <a:lvl7pPr marL="3200400" lvl="6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●"/>
              <a:defRPr>
                <a:solidFill>
                  <a:schemeClr val="dk1"/>
                </a:solidFill>
              </a:defRPr>
            </a:lvl7pPr>
            <a:lvl8pPr marL="3657600" lvl="7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○"/>
              <a:defRPr>
                <a:solidFill>
                  <a:schemeClr val="dk1"/>
                </a:solidFill>
              </a:defRPr>
            </a:lvl8pPr>
            <a:lvl9pPr marL="4114800" lvl="8" indent="-31750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Char char="■"/>
              <a:defRPr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40" name="Google Shape;40;p9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0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43" name="Google Shape;43;p10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Google Shape;45;p11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6" name="Google Shape;46;p11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7" name="Google Shape;47;p1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rmAutofit/>
          </a:bodyPr>
          <a:lstStyle>
            <a:lvl1pPr lvl="0">
              <a:buNone/>
              <a:defRPr/>
            </a:lvl1pPr>
            <a:lvl2pPr lvl="1">
              <a:buNone/>
              <a:defRPr/>
            </a:lvl2pPr>
            <a:lvl3pPr lvl="2">
              <a:buNone/>
              <a:defRPr/>
            </a:lvl3pPr>
            <a:lvl4pPr lvl="3">
              <a:buNone/>
              <a:defRPr/>
            </a:lvl4pPr>
            <a:lvl5pPr lvl="4">
              <a:buNone/>
              <a:defRPr/>
            </a:lvl5pPr>
            <a:lvl6pPr lvl="5">
              <a:buNone/>
              <a:defRPr/>
            </a:lvl6pPr>
            <a:lvl7pPr lvl="6">
              <a:buNone/>
              <a:defRPr/>
            </a:lvl7pPr>
            <a:lvl8pPr lvl="7">
              <a:buNone/>
              <a:defRPr/>
            </a:lvl8pPr>
            <a:lvl9pPr lvl="8"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1.jpg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theme" Target="../theme/theme3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slideLayout" Target="../slideLayouts/slideLayout44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slideLayout" Target="../slideLayouts/slideLayout57.xml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56.xml"/><Relationship Id="rId2" Type="http://schemas.openxmlformats.org/officeDocument/2006/relationships/slideLayout" Target="../slideLayouts/slideLayout46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Relationship Id="rId14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dark-2">
    <p:bg>
      <p:bgPr>
        <a:solidFill>
          <a:schemeClr val="accent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None/>
              <a:defRPr sz="2800">
                <a:solidFill>
                  <a:schemeClr val="dk1"/>
                </a:solidFill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800"/>
              <a:buChar char="●"/>
              <a:defRPr sz="1800">
                <a:solidFill>
                  <a:schemeClr val="lt2"/>
                </a:solidFill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○"/>
              <a:defRPr>
                <a:solidFill>
                  <a:schemeClr val="lt2"/>
                </a:solidFill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■"/>
              <a:defRPr>
                <a:solidFill>
                  <a:schemeClr val="lt2"/>
                </a:solidFill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●"/>
              <a:defRPr>
                <a:solidFill>
                  <a:schemeClr val="lt2"/>
                </a:solidFill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○"/>
              <a:defRPr>
                <a:solidFill>
                  <a:schemeClr val="lt2"/>
                </a:solidFill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■"/>
              <a:defRPr>
                <a:solidFill>
                  <a:schemeClr val="lt2"/>
                </a:solidFill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●"/>
              <a:defRPr>
                <a:solidFill>
                  <a:schemeClr val="lt2"/>
                </a:solidFill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○"/>
              <a:defRPr>
                <a:solidFill>
                  <a:schemeClr val="lt2"/>
                </a:solidFill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Char char="■"/>
              <a:defRPr>
                <a:solidFill>
                  <a:schemeClr val="lt2"/>
                </a:solidFill>
              </a:defRPr>
            </a:lvl9pPr>
          </a:lstStyle>
          <a:p>
            <a:endParaRPr/>
          </a:p>
        </p:txBody>
      </p:sp>
      <p:sp>
        <p:nvSpPr>
          <p:cNvPr id="8" name="Google Shape;8;p1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lvl="0" algn="r">
              <a:buNone/>
              <a:defRPr sz="1000">
                <a:solidFill>
                  <a:schemeClr val="lt2"/>
                </a:solidFill>
              </a:defRPr>
            </a:lvl1pPr>
            <a:lvl2pPr lvl="1" algn="r">
              <a:buNone/>
              <a:defRPr sz="1000">
                <a:solidFill>
                  <a:schemeClr val="lt2"/>
                </a:solidFill>
              </a:defRPr>
            </a:lvl2pPr>
            <a:lvl3pPr lvl="2" algn="r">
              <a:buNone/>
              <a:defRPr sz="1000">
                <a:solidFill>
                  <a:schemeClr val="lt2"/>
                </a:solidFill>
              </a:defRPr>
            </a:lvl3pPr>
            <a:lvl4pPr lvl="3" algn="r">
              <a:buNone/>
              <a:defRPr sz="1000">
                <a:solidFill>
                  <a:schemeClr val="lt2"/>
                </a:solidFill>
              </a:defRPr>
            </a:lvl4pPr>
            <a:lvl5pPr lvl="4" algn="r">
              <a:buNone/>
              <a:defRPr sz="1000">
                <a:solidFill>
                  <a:schemeClr val="lt2"/>
                </a:solidFill>
              </a:defRPr>
            </a:lvl5pPr>
            <a:lvl6pPr lvl="5" algn="r">
              <a:buNone/>
              <a:defRPr sz="1000">
                <a:solidFill>
                  <a:schemeClr val="lt2"/>
                </a:solidFill>
              </a:defRPr>
            </a:lvl6pPr>
            <a:lvl7pPr lvl="6" algn="r">
              <a:buNone/>
              <a:defRPr sz="1000">
                <a:solidFill>
                  <a:schemeClr val="lt2"/>
                </a:solidFill>
              </a:defRPr>
            </a:lvl7pPr>
            <a:lvl8pPr lvl="7" algn="r">
              <a:buNone/>
              <a:defRPr sz="1000">
                <a:solidFill>
                  <a:schemeClr val="lt2"/>
                </a:solidFill>
              </a:defRPr>
            </a:lvl8pPr>
            <a:lvl9pPr lvl="8" algn="r">
              <a:buNone/>
              <a:defRPr sz="1000">
                <a:solidFill>
                  <a:schemeClr val="lt2"/>
                </a:solidFill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/>
              <a:t>‹#›</a:t>
            </a:fld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02444" y="20712"/>
            <a:ext cx="8137922" cy="771525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02444" y="847725"/>
            <a:ext cx="8137922" cy="37552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zh-CN" alt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4979" y="4753687"/>
            <a:ext cx="815387" cy="30984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3165380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1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22">
          <p15:clr>
            <a:srgbClr val="F26B43"/>
          </p15:clr>
        </p15:guide>
        <p15:guide id="2" pos="7257">
          <p15:clr>
            <a:srgbClr val="F26B43"/>
          </p15:clr>
        </p15:guide>
        <p15:guide id="3" orient="horz" pos="648">
          <p15:clr>
            <a:srgbClr val="F26B43"/>
          </p15:clr>
        </p15:guide>
        <p15:guide id="4" orient="horz" pos="712">
          <p15:clr>
            <a:srgbClr val="F26B43"/>
          </p15:clr>
        </p15:guide>
        <p15:guide id="5" orient="horz" pos="3931">
          <p15:clr>
            <a:srgbClr val="F26B43"/>
          </p15:clr>
        </p15:guide>
        <p15:guide id="6" orient="horz" pos="386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89FBDE"/>
            </a:gs>
            <a:gs pos="100000">
              <a:srgbClr val="F9F586"/>
            </a:gs>
          </a:gsLst>
          <a:lin ang="5400700" scaled="0"/>
        </a:gra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Fjalla One"/>
              <a:buNone/>
              <a:defRPr sz="2800">
                <a:solidFill>
                  <a:srgbClr val="434343"/>
                </a:solidFill>
                <a:latin typeface="Fjalla One"/>
                <a:ea typeface="Fjalla One"/>
                <a:cs typeface="Fjalla One"/>
                <a:sym typeface="Fjalla One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2800"/>
              <a:buFont typeface="Economica"/>
              <a:buNone/>
              <a:defRPr sz="2800">
                <a:solidFill>
                  <a:srgbClr val="434343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429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800"/>
              <a:buFont typeface="Roboto Condensed Light"/>
              <a:buChar char="●"/>
              <a:defRPr sz="1800"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lvl="1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○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lvl="2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■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lvl="3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●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lvl="4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○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lvl="5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■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lvl="6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●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lvl="7" indent="-3175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400"/>
              <a:buFont typeface="Roboto Condensed Light"/>
              <a:buChar char="○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lvl="8" indent="-3175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400"/>
              <a:buFont typeface="Roboto Condensed Light"/>
              <a:buChar char="■"/>
              <a:defRPr>
                <a:solidFill>
                  <a:srgbClr val="434343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endParaRPr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FC44AB4-A443-479A-A449-9767D671F0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67545" y="4731991"/>
            <a:ext cx="397148" cy="30984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chemeClr val="tx1"/>
                </a:solidFill>
              </a:defRPr>
            </a:lvl1pPr>
          </a:lstStyle>
          <a:p>
            <a:fld id="{F8C440BC-BCAB-415D-92DA-176675AB4FF8}" type="slidenum">
              <a:rPr lang="en-IN" smtClean="0"/>
              <a:pPr/>
              <a:t>‹#›</a:t>
            </a:fld>
            <a:endParaRPr lang="en-IN" dirty="0"/>
          </a:p>
        </p:txBody>
      </p:sp>
    </p:spTree>
    <p:extLst>
      <p:ext uri="{BB962C8B-B14F-4D97-AF65-F5344CB8AC3E}">
        <p14:creationId xmlns:p14="http://schemas.microsoft.com/office/powerpoint/2010/main" val="135484935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18"/>
          <p:cNvSpPr txBox="1">
            <a:spLocks noGrp="1"/>
          </p:cNvSpPr>
          <p:nvPr>
            <p:ph type="title"/>
          </p:nvPr>
        </p:nvSpPr>
        <p:spPr>
          <a:xfrm>
            <a:off x="628650" y="273846"/>
            <a:ext cx="7886700" cy="9941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400"/>
              <a:buFont typeface="Calibri"/>
              <a:buNone/>
              <a:defRPr sz="4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11" name="Google Shape;11;p18"/>
          <p:cNvSpPr txBox="1"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marR="0" lvl="0" indent="-4064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Char char="•"/>
              <a:defRPr sz="2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18"/>
          <p:cNvSpPr txBox="1">
            <a:spLocks noGrp="1"/>
          </p:cNvSpPr>
          <p:nvPr>
            <p:ph type="dt" idx="10"/>
          </p:nvPr>
        </p:nvSpPr>
        <p:spPr>
          <a:xfrm>
            <a:off x="6286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" name="Google Shape;13;p18"/>
          <p:cNvSpPr txBox="1">
            <a:spLocks noGrp="1"/>
          </p:cNvSpPr>
          <p:nvPr>
            <p:ph type="ftr" idx="11"/>
          </p:nvPr>
        </p:nvSpPr>
        <p:spPr>
          <a:xfrm>
            <a:off x="3028950" y="4767264"/>
            <a:ext cx="30861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35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" name="Google Shape;14;p18"/>
          <p:cNvSpPr txBox="1">
            <a:spLocks noGrp="1"/>
          </p:cNvSpPr>
          <p:nvPr>
            <p:ph type="sldNum" idx="12"/>
          </p:nvPr>
        </p:nvSpPr>
        <p:spPr>
          <a:xfrm>
            <a:off x="6457950" y="4767264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spcBef>
                <a:spcPts val="0"/>
              </a:spcBef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IN" smtClean="0"/>
              <a:pPr/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844423651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05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7.jpeg"/><Relationship Id="rId5" Type="http://schemas.openxmlformats.org/officeDocument/2006/relationships/image" Target="../media/image6.jpeg"/><Relationship Id="rId4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public.tableau.com/app/profile/morup.namgial/viz/CBC_2022_16627225628350/Dashboard1?publish=yes" TargetMode="Externa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5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8BC7988-6273-B763-FDFC-85418C1B115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21"/>
            <a:ext cx="9144000" cy="5142857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1D5494A-8B60-4CF7-AC49-85A1470797F8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22904216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bject 3">
            <a:extLst>
              <a:ext uri="{FF2B5EF4-FFF2-40B4-BE49-F238E27FC236}">
                <a16:creationId xmlns:a16="http://schemas.microsoft.com/office/drawing/2014/main" id="{35184ADA-A011-4B0B-B987-7712AFC6A718}"/>
              </a:ext>
            </a:extLst>
          </p:cNvPr>
          <p:cNvSpPr txBox="1">
            <a:spLocks/>
          </p:cNvSpPr>
          <p:nvPr/>
        </p:nvSpPr>
        <p:spPr>
          <a:xfrm>
            <a:off x="304341" y="258497"/>
            <a:ext cx="7406643" cy="504946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9525" lvl="0" defTabSz="685800">
              <a:spcBef>
                <a:spcPts val="98"/>
              </a:spcBef>
              <a:defRPr/>
            </a:pPr>
            <a:r>
              <a:rPr lang="fr-FR" sz="3200" b="1" dirty="0" err="1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Results</a:t>
            </a:r>
            <a:r>
              <a:rPr lang="fr-FR" sz="3200" b="1" dirty="0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and </a:t>
            </a:r>
            <a:r>
              <a:rPr lang="fr-FR" sz="3200" b="1" dirty="0" err="1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Potential</a:t>
            </a:r>
            <a:r>
              <a:rPr lang="fr-FR" sz="3200" b="1" dirty="0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to </a:t>
            </a:r>
            <a:r>
              <a:rPr lang="fr-FR" sz="3200" b="1" dirty="0" err="1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Scale</a:t>
            </a:r>
            <a:endParaRPr lang="fr-FR" sz="3200" b="1" dirty="0">
              <a:solidFill>
                <a:srgbClr val="003B7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7D7761-2D47-4633-AE35-DE30B5C5C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44200" y="4833654"/>
            <a:ext cx="397148" cy="309847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F8C440BC-BCAB-415D-92DA-176675AB4FF8}" type="slidenum"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DBD4D1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Calibri"/>
                <a:sym typeface="Calibri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10</a:t>
            </a:fld>
            <a:endParaRPr kumimoji="0" lang="en-IN" sz="1050" b="1" i="0" u="none" strike="noStrike" kern="1200" cap="none" spc="0" normalizeH="0" baseline="0" noProof="0" dirty="0">
              <a:ln>
                <a:noFill/>
              </a:ln>
              <a:solidFill>
                <a:srgbClr val="DBD4D1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Calibri"/>
              <a:sym typeface="Calibri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FE3ED6C-7D8E-4CE2-ACEE-2B3327096D4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0421" y="1374607"/>
            <a:ext cx="5598695" cy="295404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2594B7E-D806-418B-A2D7-9ED88D6728DD}"/>
              </a:ext>
            </a:extLst>
          </p:cNvPr>
          <p:cNvSpPr/>
          <p:nvPr/>
        </p:nvSpPr>
        <p:spPr>
          <a:xfrm>
            <a:off x="5954144" y="1374607"/>
            <a:ext cx="2901098" cy="27905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lang="en-IN" sz="1800" dirty="0"/>
              <a:t>Immediate potential in upcoming Rabi season for Biofortified Wheat – 20k acres</a:t>
            </a: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lang="en-IN" sz="1800" dirty="0"/>
              <a:t>May further scale to 50k acres</a:t>
            </a: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lang="en-IN" sz="1800" dirty="0"/>
              <a:t>May look at expanding to key geographies – UP, MP, Bihar,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A617BCD-5DEA-4A7E-BF68-7C9FD4EBE608}"/>
              </a:ext>
            </a:extLst>
          </p:cNvPr>
          <p:cNvSpPr/>
          <p:nvPr/>
        </p:nvSpPr>
        <p:spPr>
          <a:xfrm>
            <a:off x="192046" y="962356"/>
            <a:ext cx="556706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Ongoing season projections – Kharif Pearl Millet</a:t>
            </a:r>
            <a:endParaRPr lang="en-IN" sz="2000" b="1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F0DBD73-8EA2-4B67-B96C-47C573EC280E}"/>
              </a:ext>
            </a:extLst>
          </p:cNvPr>
          <p:cNvSpPr/>
          <p:nvPr/>
        </p:nvSpPr>
        <p:spPr>
          <a:xfrm>
            <a:off x="5954144" y="974497"/>
            <a:ext cx="35136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2000" b="1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Future Potential</a:t>
            </a:r>
            <a:endParaRPr lang="en-IN" sz="2000" b="1" dirty="0"/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73896D74-E0D0-4D24-BC36-AF01CF3B08FB}"/>
              </a:ext>
            </a:extLst>
          </p:cNvPr>
          <p:cNvSpPr txBox="1">
            <a:spLocks/>
          </p:cNvSpPr>
          <p:nvPr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z="1200" smtClean="0"/>
              <a:pPr/>
              <a:t>10</a:t>
            </a:fld>
            <a:endParaRPr lang="en-IN" sz="800" dirty="0"/>
          </a:p>
        </p:txBody>
      </p:sp>
    </p:spTree>
    <p:extLst>
      <p:ext uri="{BB962C8B-B14F-4D97-AF65-F5344CB8AC3E}">
        <p14:creationId xmlns:p14="http://schemas.microsoft.com/office/powerpoint/2010/main" val="401154790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735110FF-EA12-46F4-B174-C2F973505B88}"/>
              </a:ext>
            </a:extLst>
          </p:cNvPr>
          <p:cNvSpPr/>
          <p:nvPr/>
        </p:nvSpPr>
        <p:spPr>
          <a:xfrm>
            <a:off x="249748" y="932356"/>
            <a:ext cx="8689536" cy="43088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lang="en-GB" sz="1800" kern="1200" spc="-10" dirty="0">
                <a:solidFill>
                  <a:srgbClr val="222831"/>
                </a:solidFill>
                <a:latin typeface="Neue Haas Unica" panose="020B0504030206020203" pitchFamily="34" charset="0"/>
                <a:ea typeface="+mn-ea"/>
                <a:cs typeface="Calibri"/>
              </a:rPr>
              <a:t>Lack of digital-twin of farms prohibiting innovation and decelerating precision farming. Fragmented and disconnected stakeholders in Agri value chain </a:t>
            </a:r>
            <a:endParaRPr lang="en-IN" sz="1800" kern="1200" spc="-10" dirty="0">
              <a:solidFill>
                <a:srgbClr val="222831"/>
              </a:solidFill>
              <a:latin typeface="Neue Haas Unica" panose="020B0504030206020203" pitchFamily="34" charset="0"/>
              <a:ea typeface="+mn-ea"/>
              <a:cs typeface="Calibri"/>
            </a:endParaRP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Last mile farmer not tech-savvy; must focus on using simple technologies ensuring near-real time connectivity</a:t>
            </a: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T</a:t>
            </a:r>
            <a:r>
              <a:rPr lang="en-US" sz="1800" kern="1200" spc="-10" dirty="0">
                <a:solidFill>
                  <a:srgbClr val="222831"/>
                </a:solidFill>
                <a:latin typeface="Neue Haas Unica" panose="020B0504030206020203" pitchFamily="34" charset="0"/>
                <a:ea typeface="+mn-ea"/>
                <a:cs typeface="Calibri"/>
              </a:rPr>
              <a:t>raining of local Agribusinesses/ FPOs to ensure enhanced technology customization to benefit farmers with precision tech solutions</a:t>
            </a: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lang="en-US" sz="1800" kern="1200" spc="-10" dirty="0">
                <a:solidFill>
                  <a:srgbClr val="222831"/>
                </a:solidFill>
                <a:latin typeface="Neue Haas Unica" panose="020B0504030206020203" pitchFamily="34" charset="0"/>
                <a:ea typeface="+mn-ea"/>
                <a:cs typeface="Calibri"/>
              </a:rPr>
              <a:t>‘</a:t>
            </a: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Biofortified crops’ requires concept selling; structured backward and forward linkage plan could play a key role in onboarding more farmers</a:t>
            </a: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Provision for ‘crop-insurance’ to safeguard farmers’ interest amidst rapidly changing climate conditions</a:t>
            </a:r>
          </a:p>
          <a:p>
            <a:pPr marL="342900" indent="-342900" algn="just" defTabSz="685800">
              <a:spcBef>
                <a:spcPts val="400"/>
              </a:spcBef>
              <a:spcAft>
                <a:spcPts val="400"/>
              </a:spcAft>
              <a:buClrTx/>
              <a:buFont typeface="+mj-lt"/>
              <a:buAutoNum type="arabicPeriod"/>
              <a:defRPr/>
            </a:pPr>
            <a:r>
              <a:rPr lang="en-US" sz="18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A ‘Hybrid ecosystem’ of integrated cutting-edge technologies and on-ground team with execution excellence, a key to scaling up programs of similar nature</a:t>
            </a:r>
          </a:p>
          <a:p>
            <a:pPr marL="342900" marR="0" lvl="0" indent="-342900" algn="just" defTabSz="6858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400"/>
              </a:spcAft>
              <a:buClrTx/>
              <a:buSzTx/>
              <a:buFont typeface="+mj-lt"/>
              <a:buAutoNum type="arabicPeriod"/>
              <a:tabLst/>
              <a:defRPr/>
            </a:pPr>
            <a:endParaRPr kumimoji="0" lang="en-US" sz="1800" b="0" i="0" u="none" strike="noStrike" kern="1200" cap="none" spc="-10" normalizeH="0" baseline="0" noProof="0" dirty="0">
              <a:ln>
                <a:noFill/>
              </a:ln>
              <a:solidFill>
                <a:srgbClr val="222831"/>
              </a:solidFill>
              <a:effectLst/>
              <a:uLnTx/>
              <a:uFillTx/>
              <a:latin typeface="Neue Haas Unica" panose="020B0504030206020203" pitchFamily="34" charset="0"/>
              <a:ea typeface="+mn-ea"/>
              <a:cs typeface="Calibri"/>
              <a:sym typeface="Arial"/>
            </a:endParaRPr>
          </a:p>
        </p:txBody>
      </p:sp>
      <p:sp>
        <p:nvSpPr>
          <p:cNvPr id="29" name="object 3">
            <a:extLst>
              <a:ext uri="{FF2B5EF4-FFF2-40B4-BE49-F238E27FC236}">
                <a16:creationId xmlns:a16="http://schemas.microsoft.com/office/drawing/2014/main" id="{35184ADA-A011-4B0B-B987-7712AFC6A718}"/>
              </a:ext>
            </a:extLst>
          </p:cNvPr>
          <p:cNvSpPr txBox="1">
            <a:spLocks/>
          </p:cNvSpPr>
          <p:nvPr/>
        </p:nvSpPr>
        <p:spPr>
          <a:xfrm>
            <a:off x="304341" y="258497"/>
            <a:ext cx="7406643" cy="504946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9525" marR="0" lvl="0" indent="0" algn="l" defTabSz="685800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lang="fr-FR" sz="3200" b="1" dirty="0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Key </a:t>
            </a:r>
            <a:r>
              <a:rPr lang="fr-FR" sz="3200" b="1" dirty="0" err="1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Lessons</a:t>
            </a:r>
            <a:endParaRPr lang="fr-FR" sz="3200" b="1" dirty="0">
              <a:solidFill>
                <a:srgbClr val="003B70"/>
              </a:solidFill>
              <a:latin typeface="Poppins" panose="00000500000000000000" pitchFamily="2" charset="0"/>
              <a:cs typeface="Poppins" panose="00000500000000000000" pitchFamily="2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7D7761-2D47-4633-AE35-DE30B5C5C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44200" y="4833654"/>
            <a:ext cx="397148" cy="309847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F8C440BC-BCAB-415D-92DA-176675AB4FF8}" type="slidenum"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DBD4D1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Calibri"/>
                <a:sym typeface="Calibri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11</a:t>
            </a:fld>
            <a:endParaRPr kumimoji="0" lang="en-IN" sz="1050" b="1" i="0" u="none" strike="noStrike" kern="1200" cap="none" spc="0" normalizeH="0" baseline="0" noProof="0" dirty="0">
              <a:ln>
                <a:noFill/>
              </a:ln>
              <a:solidFill>
                <a:srgbClr val="DBD4D1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Calibri"/>
              <a:sym typeface="Calibri"/>
            </a:endParaRP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86793BB5-6DD8-4A4D-B73E-E816485A90D8}"/>
              </a:ext>
            </a:extLst>
          </p:cNvPr>
          <p:cNvSpPr txBox="1">
            <a:spLocks/>
          </p:cNvSpPr>
          <p:nvPr/>
        </p:nvSpPr>
        <p:spPr>
          <a:xfrm>
            <a:off x="204716" y="4730079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z="1200" smtClean="0"/>
              <a:pPr/>
              <a:t>11</a:t>
            </a:fld>
            <a:endParaRPr lang="en-IN" sz="800" dirty="0"/>
          </a:p>
        </p:txBody>
      </p:sp>
    </p:spTree>
    <p:extLst>
      <p:ext uri="{BB962C8B-B14F-4D97-AF65-F5344CB8AC3E}">
        <p14:creationId xmlns:p14="http://schemas.microsoft.com/office/powerpoint/2010/main" val="1973219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C7306757-CB49-9E74-1104-21E87816D57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7B4B008-B8E2-46C4-BD8C-2ECD1DE0C812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12</a:t>
            </a:fld>
            <a:endParaRPr lang="en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502444" y="4750167"/>
            <a:ext cx="332444" cy="273844"/>
          </a:xfrm>
        </p:spPr>
        <p:txBody>
          <a:bodyPr/>
          <a:lstStyle/>
          <a:p>
            <a:pPr defTabSz="685800">
              <a:buClrTx/>
            </a:pPr>
            <a:fld id="{F8C440BC-BCAB-415D-92DA-176675AB4FF8}" type="slidenum">
              <a:rPr lang="en-IN" kern="1200">
                <a:solidFill>
                  <a:srgbClr val="000000"/>
                </a:solidFill>
                <a:latin typeface="Calibri"/>
                <a:ea typeface="微软雅黑"/>
                <a:cs typeface="+mn-cs"/>
              </a:rPr>
              <a:pPr defTabSz="685800">
                <a:buClrTx/>
              </a:pPr>
              <a:t>2</a:t>
            </a:fld>
            <a:endParaRPr lang="en-IN" kern="1200" dirty="0">
              <a:solidFill>
                <a:srgbClr val="000000"/>
              </a:solidFill>
              <a:latin typeface="Calibri"/>
              <a:ea typeface="微软雅黑"/>
              <a:cs typeface="+mn-cs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36805" y="-69705"/>
            <a:ext cx="8137922" cy="771525"/>
          </a:xfrm>
        </p:spPr>
        <p:txBody>
          <a:bodyPr>
            <a:noAutofit/>
          </a:bodyPr>
          <a:lstStyle/>
          <a:p>
            <a:r>
              <a:rPr lang="en-IN" sz="2400" dirty="0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  <a:sym typeface="Arial"/>
              </a:rPr>
              <a:t>IFFCO - Extensive Reach And Strength In Rural India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560225" y="846960"/>
            <a:ext cx="6166667" cy="3756449"/>
            <a:chOff x="746966" y="1163594"/>
            <a:chExt cx="8777379" cy="5250644"/>
          </a:xfrm>
        </p:grpSpPr>
        <p:sp>
          <p:nvSpPr>
            <p:cNvPr id="24" name="Rectangle 23"/>
            <p:cNvSpPr/>
            <p:nvPr/>
          </p:nvSpPr>
          <p:spPr>
            <a:xfrm>
              <a:off x="746966" y="1163594"/>
              <a:ext cx="8775981" cy="5116174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r>
                <a:rPr lang="en-US" sz="1200" kern="1200" dirty="0" err="1">
                  <a:solidFill>
                    <a:srgbClr val="FFFFFF">
                      <a:lumMod val="75000"/>
                    </a:srgbClr>
                  </a:solidFill>
                  <a:latin typeface="Calibri"/>
                  <a:ea typeface="微软雅黑"/>
                </a:rPr>
                <a:t>svfsdf</a:t>
              </a:r>
              <a:endParaRPr lang="en-US" sz="1200" kern="1200" dirty="0">
                <a:solidFill>
                  <a:srgbClr val="FFFFFF">
                    <a:lumMod val="75000"/>
                  </a:srgbClr>
                </a:solidFill>
                <a:latin typeface="Calibri"/>
                <a:ea typeface="微软雅黑"/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3059994" y="1856700"/>
              <a:ext cx="4151787" cy="3979468"/>
            </a:xfrm>
            <a:prstGeom prst="ellipse">
              <a:avLst/>
            </a:prstGeom>
            <a:solidFill>
              <a:srgbClr val="595959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en-US" sz="1200" kern="1200">
                <a:solidFill>
                  <a:srgbClr val="000000">
                    <a:lumMod val="75000"/>
                    <a:lumOff val="25000"/>
                  </a:srgbClr>
                </a:solidFill>
                <a:latin typeface="Calibri"/>
                <a:ea typeface="微软雅黑"/>
              </a:endParaRPr>
            </a:p>
          </p:txBody>
        </p:sp>
        <p:cxnSp>
          <p:nvCxnSpPr>
            <p:cNvPr id="26" name="Straight Connector 25"/>
            <p:cNvCxnSpPr/>
            <p:nvPr/>
          </p:nvCxnSpPr>
          <p:spPr>
            <a:xfrm>
              <a:off x="746966" y="3856151"/>
              <a:ext cx="8775981" cy="0"/>
            </a:xfrm>
            <a:prstGeom prst="line">
              <a:avLst/>
            </a:prstGeom>
            <a:ln w="38100" cmpd="sng">
              <a:solidFill>
                <a:srgbClr val="FFFFFF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/>
            <p:cNvCxnSpPr/>
            <p:nvPr/>
          </p:nvCxnSpPr>
          <p:spPr>
            <a:xfrm>
              <a:off x="5134956" y="1298064"/>
              <a:ext cx="0" cy="5116174"/>
            </a:xfrm>
            <a:prstGeom prst="line">
              <a:avLst/>
            </a:prstGeom>
            <a:ln w="38100" cmpd="sng">
              <a:solidFill>
                <a:srgbClr val="FFFFFF"/>
              </a:solidFill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Oval 27"/>
            <p:cNvSpPr/>
            <p:nvPr/>
          </p:nvSpPr>
          <p:spPr>
            <a:xfrm>
              <a:off x="4520417" y="3271245"/>
              <a:ext cx="1229078" cy="1169811"/>
            </a:xfrm>
            <a:prstGeom prst="ellipse">
              <a:avLst/>
            </a:prstGeom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800">
                <a:buClrTx/>
              </a:pPr>
              <a:endParaRPr lang="en-US" sz="825" kern="1200" dirty="0">
                <a:solidFill>
                  <a:srgbClr val="000000"/>
                </a:solidFill>
                <a:latin typeface="Calibri"/>
                <a:ea typeface="微软雅黑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4637271" y="3628976"/>
              <a:ext cx="1037873" cy="46804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buClrTx/>
              </a:pPr>
              <a:r>
                <a:rPr lang="en-US" sz="1500" b="1" kern="1200" dirty="0">
                  <a:latin typeface="Calibri"/>
                  <a:ea typeface="微软雅黑"/>
                  <a:cs typeface="+mn-cs"/>
                </a:rPr>
                <a:t>IFFCO</a:t>
              </a:r>
            </a:p>
          </p:txBody>
        </p:sp>
        <p:sp>
          <p:nvSpPr>
            <p:cNvPr id="30" name="Rectangle 29"/>
            <p:cNvSpPr/>
            <p:nvPr/>
          </p:nvSpPr>
          <p:spPr>
            <a:xfrm>
              <a:off x="3361608" y="2595010"/>
              <a:ext cx="1763889" cy="7354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buClrTx/>
              </a:pP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Brand </a:t>
              </a:r>
              <a:r>
                <a:rPr lang="en-US" sz="10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&amp;</a:t>
              </a: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 Recognition</a:t>
              </a:r>
            </a:p>
          </p:txBody>
        </p:sp>
        <p:sp>
          <p:nvSpPr>
            <p:cNvPr id="31" name="Rectangle 30"/>
            <p:cNvSpPr/>
            <p:nvPr/>
          </p:nvSpPr>
          <p:spPr>
            <a:xfrm>
              <a:off x="5188180" y="4347223"/>
              <a:ext cx="1763889" cy="7354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buClrTx/>
              </a:pP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Expertise </a:t>
              </a:r>
              <a:r>
                <a:rPr lang="en-US" sz="10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&amp;</a:t>
              </a: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 Infrastructure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5156208" y="2581434"/>
              <a:ext cx="1763889" cy="7354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buClrTx/>
              </a:pP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Distribution </a:t>
              </a:r>
              <a:r>
                <a:rPr lang="en-US" sz="10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&amp;</a:t>
              </a: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 Reach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267824" y="4344840"/>
              <a:ext cx="1763889" cy="73549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 defTabSz="685800">
                <a:buClrTx/>
              </a:pPr>
              <a:r>
                <a:rPr lang="en-US" sz="1350" i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Financial Strength</a:t>
              </a: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7070553" y="4563739"/>
              <a:ext cx="2416751" cy="17384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685800">
                <a:buClrTx/>
              </a:pPr>
              <a:r>
                <a:rPr lang="en-US" sz="1200" b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IFFCO’s expertise and infrastructure in rural India is unmatched, making it the ideal partner for entering rural markets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814439" y="1418164"/>
              <a:ext cx="2704252" cy="133727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</a:pPr>
              <a:r>
                <a:rPr lang="en-US" sz="1200" b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IFFCO is a household name in rural India that generations of Indian farmers have put their trust in for over 50 years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804275" y="4526805"/>
              <a:ext cx="2241922" cy="157798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</a:pPr>
              <a:r>
                <a:rPr lang="en-US" sz="1200" b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IFFCO produces and distributes nearly one-third of the fertilizer consumed in India with an annual turnover of USD 4B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7105333" y="1298064"/>
              <a:ext cx="2419012" cy="230010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</a:pPr>
              <a:r>
                <a:rPr lang="en-US" sz="1200" b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IFFCO is present in almost every district, taluka and tehsil of India and reaches 55 Million farmers        (45% of India’s farming population) through 35000+  PACS as member societies </a:t>
              </a:r>
            </a:p>
          </p:txBody>
        </p:sp>
      </p:grpSp>
      <p:sp>
        <p:nvSpPr>
          <p:cNvPr id="18" name="Rectangle 17"/>
          <p:cNvSpPr/>
          <p:nvPr/>
        </p:nvSpPr>
        <p:spPr>
          <a:xfrm>
            <a:off x="6800752" y="1396292"/>
            <a:ext cx="1943720" cy="307600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FFCO Kisan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FFCO </a:t>
            </a:r>
            <a:r>
              <a:rPr lang="en-IN" sz="1350" kern="1200" dirty="0" err="1">
                <a:solidFill>
                  <a:srgbClr val="FFFFFF"/>
                </a:solidFill>
                <a:latin typeface="Calibri"/>
                <a:ea typeface="微软雅黑"/>
              </a:rPr>
              <a:t>Tokio</a:t>
            </a:r>
            <a:endParaRPr lang="en-IN" sz="1350" kern="1200" dirty="0">
              <a:solidFill>
                <a:srgbClr val="FFFFFF"/>
              </a:solidFill>
              <a:latin typeface="Calibri"/>
              <a:ea typeface="微软雅黑"/>
            </a:endParaRP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PL 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NCDEX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KSEZ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KBLL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FFCO MC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IFFCO E-BAZAR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SIKKIM IFFCO ORGANICS LTD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AQUAGRI PROCESSING PVT. LTD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US" sz="1350" kern="1200" dirty="0">
                <a:solidFill>
                  <a:srgbClr val="FFFFFF"/>
                </a:solidFill>
                <a:latin typeface="Calibri"/>
                <a:ea typeface="微软雅黑"/>
              </a:rPr>
              <a:t>CORDET</a:t>
            </a:r>
          </a:p>
          <a:p>
            <a:pPr marL="257175" indent="-257175" defTabSz="685800">
              <a:buClrTx/>
              <a:buFont typeface="+mj-lt"/>
              <a:buAutoNum type="arabicPeriod"/>
            </a:pPr>
            <a:r>
              <a:rPr lang="en-US" sz="1350" kern="1200" dirty="0">
                <a:solidFill>
                  <a:srgbClr val="FFFFFF"/>
                </a:solidFill>
                <a:latin typeface="Calibri"/>
                <a:ea typeface="微软雅黑"/>
              </a:rPr>
              <a:t>IFFDC</a:t>
            </a:r>
            <a:endParaRPr lang="en-IN" sz="1350" kern="1200" dirty="0">
              <a:solidFill>
                <a:srgbClr val="FFFFFF"/>
              </a:solidFill>
              <a:latin typeface="Calibri"/>
              <a:ea typeface="微软雅黑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6798445" y="846962"/>
            <a:ext cx="1946027" cy="478560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800">
              <a:buClrTx/>
            </a:pPr>
            <a:r>
              <a:rPr lang="en-IN" sz="1350" kern="1200" dirty="0">
                <a:solidFill>
                  <a:srgbClr val="FFFFFF"/>
                </a:solidFill>
                <a:latin typeface="Calibri"/>
                <a:ea typeface="微软雅黑"/>
              </a:rPr>
              <a:t>Additional Services through JVs/Partnerships</a:t>
            </a:r>
          </a:p>
        </p:txBody>
      </p:sp>
    </p:spTree>
    <p:extLst>
      <p:ext uri="{BB962C8B-B14F-4D97-AF65-F5344CB8AC3E}">
        <p14:creationId xmlns:p14="http://schemas.microsoft.com/office/powerpoint/2010/main" val="405473637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>
          <a:xfrm>
            <a:off x="169998" y="4612382"/>
            <a:ext cx="332444" cy="248811"/>
          </a:xfrm>
        </p:spPr>
        <p:txBody>
          <a:bodyPr/>
          <a:lstStyle/>
          <a:p>
            <a:pPr defTabSz="685800">
              <a:buClrTx/>
            </a:pPr>
            <a:fld id="{F8C440BC-BCAB-415D-92DA-176675AB4FF8}" type="slidenum">
              <a:rPr lang="en-IN" kern="1200">
                <a:solidFill>
                  <a:srgbClr val="000000"/>
                </a:solidFill>
                <a:latin typeface="Calibri"/>
                <a:ea typeface="微软雅黑"/>
                <a:cs typeface="+mn-cs"/>
              </a:rPr>
              <a:pPr defTabSz="685800">
                <a:buClrTx/>
              </a:pPr>
              <a:t>3</a:t>
            </a:fld>
            <a:endParaRPr lang="en-IN" kern="1200" dirty="0">
              <a:solidFill>
                <a:srgbClr val="000000"/>
              </a:solidFill>
              <a:latin typeface="Calibri"/>
              <a:ea typeface="微软雅黑"/>
              <a:cs typeface="+mn-cs"/>
            </a:endParaRPr>
          </a:p>
        </p:txBody>
      </p:sp>
      <p:grpSp>
        <p:nvGrpSpPr>
          <p:cNvPr id="4" name="2afcd1f5-4a5e-475c-8e39-3932cc61517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1"/>
            </p:custDataLst>
          </p:nvPr>
        </p:nvGrpSpPr>
        <p:grpSpPr>
          <a:xfrm>
            <a:off x="1268" y="1097472"/>
            <a:ext cx="9144000" cy="3186354"/>
            <a:chOff x="1691" y="1493400"/>
            <a:chExt cx="12192000" cy="4248472"/>
          </a:xfrm>
        </p:grpSpPr>
        <p:sp>
          <p:nvSpPr>
            <p:cNvPr id="5" name="išḻiḍê"/>
            <p:cNvSpPr/>
            <p:nvPr/>
          </p:nvSpPr>
          <p:spPr>
            <a:xfrm>
              <a:off x="1691" y="2890364"/>
              <a:ext cx="12192000" cy="1440160"/>
            </a:xfrm>
            <a:prstGeom prst="rect">
              <a:avLst/>
            </a:prstGeom>
            <a:solidFill>
              <a:schemeClr val="tx1">
                <a:alpha val="7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buClrTx/>
              </a:pPr>
              <a:endParaRPr sz="1350" kern="1200">
                <a:solidFill>
                  <a:srgbClr val="FFFFFF"/>
                </a:solidFill>
                <a:latin typeface="Calibri"/>
                <a:ea typeface="微软雅黑"/>
              </a:endParaRPr>
            </a:p>
          </p:txBody>
        </p:sp>
        <p:sp>
          <p:nvSpPr>
            <p:cNvPr id="6" name="î$ľîde"/>
            <p:cNvSpPr/>
            <p:nvPr/>
          </p:nvSpPr>
          <p:spPr bwMode="auto">
            <a:xfrm>
              <a:off x="669923" y="3184610"/>
              <a:ext cx="2373527" cy="11459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7500" rIns="67500" anchor="t" anchorCtr="0">
              <a:noAutofit/>
            </a:bodyPr>
            <a:lstStyle/>
            <a:p>
              <a:pPr defTabSz="685800">
                <a:lnSpc>
                  <a:spcPct val="120000"/>
                </a:lnSpc>
                <a:buClrTx/>
              </a:pPr>
              <a:r>
                <a:rPr lang="en-IN" altLang="zh-CN" sz="825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Leverage ICT to reach larger rural population at ease, engage them with timely and actionable advisories, empowering them to take informed and improved decisions</a:t>
              </a:r>
              <a:endParaRPr lang="en-US" altLang="zh-CN" sz="825" kern="1200" dirty="0">
                <a:solidFill>
                  <a:srgbClr val="FFFFFF"/>
                </a:solidFill>
                <a:latin typeface="Calibri"/>
                <a:ea typeface="微软雅黑"/>
                <a:cs typeface="+mn-cs"/>
              </a:endParaRPr>
            </a:p>
          </p:txBody>
        </p:sp>
        <p:sp>
          <p:nvSpPr>
            <p:cNvPr id="8" name="íṩ1íḍê"/>
            <p:cNvSpPr/>
            <p:nvPr/>
          </p:nvSpPr>
          <p:spPr bwMode="auto">
            <a:xfrm>
              <a:off x="9332063" y="3206085"/>
              <a:ext cx="2241238" cy="12728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67500" rIns="67500" anchor="t" anchorCtr="0">
              <a:noAutofit/>
            </a:bodyPr>
            <a:lstStyle/>
            <a:p>
              <a:pPr defTabSz="685800">
                <a:lnSpc>
                  <a:spcPct val="120000"/>
                </a:lnSpc>
                <a:buClrTx/>
              </a:pPr>
              <a:r>
                <a:rPr lang="en-IN" altLang="zh-CN" sz="788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Improve existing agri-value chain through ‘FPO based procurement model’ / market linkages. Bridge the gap between farmers and agri-processing industry</a:t>
              </a:r>
              <a:endParaRPr lang="en-US" altLang="zh-CN" sz="788" kern="1200" dirty="0">
                <a:solidFill>
                  <a:srgbClr val="FFFFFF"/>
                </a:solidFill>
                <a:latin typeface="Calibri"/>
                <a:ea typeface="微软雅黑"/>
                <a:cs typeface="+mn-cs"/>
              </a:endParaRPr>
            </a:p>
          </p:txBody>
        </p:sp>
        <p:grpSp>
          <p:nvGrpSpPr>
            <p:cNvPr id="10" name="ïsḻîďè"/>
            <p:cNvGrpSpPr/>
            <p:nvPr/>
          </p:nvGrpSpPr>
          <p:grpSpPr>
            <a:xfrm>
              <a:off x="3968095" y="1493400"/>
              <a:ext cx="4255810" cy="4248472"/>
              <a:chOff x="6238713" y="1340768"/>
              <a:chExt cx="4255810" cy="4248472"/>
            </a:xfrm>
          </p:grpSpPr>
          <p:sp>
            <p:nvSpPr>
              <p:cNvPr id="31" name="îşḻíḋé"/>
              <p:cNvSpPr/>
              <p:nvPr/>
            </p:nvSpPr>
            <p:spPr>
              <a:xfrm>
                <a:off x="6238713" y="2420888"/>
                <a:ext cx="2088232" cy="2088232"/>
              </a:xfrm>
              <a:prstGeom prst="diamond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905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32" name="ïşļiḑe"/>
              <p:cNvSpPr/>
              <p:nvPr/>
            </p:nvSpPr>
            <p:spPr>
              <a:xfrm>
                <a:off x="8406291" y="2420888"/>
                <a:ext cx="2088232" cy="2088232"/>
              </a:xfrm>
              <a:prstGeom prst="diamond">
                <a:avLst/>
              </a:prstGeom>
              <a:pattFill prst="pct5">
                <a:fgClr>
                  <a:srgbClr val="E4E6EA"/>
                </a:fgClr>
                <a:bgClr>
                  <a:srgbClr val="ADB5BF"/>
                </a:bgClr>
              </a:pattFill>
              <a:ln w="1905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grpSp>
            <p:nvGrpSpPr>
              <p:cNvPr id="33" name="íŝlïḑè"/>
              <p:cNvGrpSpPr>
                <a:grpSpLocks/>
              </p:cNvGrpSpPr>
              <p:nvPr/>
            </p:nvGrpSpPr>
            <p:grpSpPr>
              <a:xfrm>
                <a:off x="7325126" y="1340768"/>
                <a:ext cx="2089796" cy="2089796"/>
                <a:chOff x="7938352" y="2492896"/>
                <a:chExt cx="839888" cy="839888"/>
              </a:xfrm>
            </p:grpSpPr>
            <p:sp>
              <p:nvSpPr>
                <p:cNvPr id="37" name="ïšľíďê"/>
                <p:cNvSpPr/>
                <p:nvPr/>
              </p:nvSpPr>
              <p:spPr>
                <a:xfrm>
                  <a:off x="7938352" y="2492896"/>
                  <a:ext cx="839888" cy="839888"/>
                </a:xfrm>
                <a:prstGeom prst="diamond">
                  <a:avLst/>
                </a:prstGeom>
                <a:solidFill>
                  <a:schemeClr val="accent1">
                    <a:alpha val="80000"/>
                  </a:schemeClr>
                </a:solidFill>
                <a:ln w="19050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solidFill>
                      <a:srgbClr val="FFFFFF"/>
                    </a:solidFill>
                    <a:latin typeface="Calibri"/>
                    <a:ea typeface="微软雅黑"/>
                  </a:endParaRPr>
                </a:p>
              </p:txBody>
            </p:sp>
            <p:sp>
              <p:nvSpPr>
                <p:cNvPr id="38" name="íşļïḓé"/>
                <p:cNvSpPr/>
                <p:nvPr/>
              </p:nvSpPr>
              <p:spPr bwMode="auto">
                <a:xfrm>
                  <a:off x="8157808" y="2712476"/>
                  <a:ext cx="400976" cy="400728"/>
                </a:xfrm>
                <a:custGeom>
                  <a:avLst/>
                  <a:gdLst>
                    <a:gd name="connsiteX0" fmla="*/ 482620 w 607097"/>
                    <a:gd name="connsiteY0" fmla="*/ 381169 h 606722"/>
                    <a:gd name="connsiteX1" fmla="*/ 496768 w 607097"/>
                    <a:gd name="connsiteY1" fmla="*/ 381169 h 606722"/>
                    <a:gd name="connsiteX2" fmla="*/ 510916 w 607097"/>
                    <a:gd name="connsiteY2" fmla="*/ 395381 h 606722"/>
                    <a:gd name="connsiteX3" fmla="*/ 510916 w 607097"/>
                    <a:gd name="connsiteY3" fmla="*/ 409505 h 606722"/>
                    <a:gd name="connsiteX4" fmla="*/ 503887 w 607097"/>
                    <a:gd name="connsiteY4" fmla="*/ 412525 h 606722"/>
                    <a:gd name="connsiteX5" fmla="*/ 496768 w 607097"/>
                    <a:gd name="connsiteY5" fmla="*/ 409505 h 606722"/>
                    <a:gd name="connsiteX6" fmla="*/ 482620 w 607097"/>
                    <a:gd name="connsiteY6" fmla="*/ 395381 h 606722"/>
                    <a:gd name="connsiteX7" fmla="*/ 482620 w 607097"/>
                    <a:gd name="connsiteY7" fmla="*/ 381169 h 606722"/>
                    <a:gd name="connsiteX8" fmla="*/ 546398 w 607097"/>
                    <a:gd name="connsiteY8" fmla="*/ 242745 h 606722"/>
                    <a:gd name="connsiteX9" fmla="*/ 566606 w 607097"/>
                    <a:gd name="connsiteY9" fmla="*/ 242745 h 606722"/>
                    <a:gd name="connsiteX10" fmla="*/ 576754 w 607097"/>
                    <a:gd name="connsiteY10" fmla="*/ 252756 h 606722"/>
                    <a:gd name="connsiteX11" fmla="*/ 566606 w 607097"/>
                    <a:gd name="connsiteY11" fmla="*/ 262856 h 606722"/>
                    <a:gd name="connsiteX12" fmla="*/ 546398 w 607097"/>
                    <a:gd name="connsiteY12" fmla="*/ 262856 h 606722"/>
                    <a:gd name="connsiteX13" fmla="*/ 536249 w 607097"/>
                    <a:gd name="connsiteY13" fmla="*/ 252756 h 606722"/>
                    <a:gd name="connsiteX14" fmla="*/ 546398 w 607097"/>
                    <a:gd name="connsiteY14" fmla="*/ 242745 h 606722"/>
                    <a:gd name="connsiteX15" fmla="*/ 353968 w 607097"/>
                    <a:gd name="connsiteY15" fmla="*/ 101120 h 606722"/>
                    <a:gd name="connsiteX16" fmla="*/ 364118 w 607097"/>
                    <a:gd name="connsiteY16" fmla="*/ 111251 h 606722"/>
                    <a:gd name="connsiteX17" fmla="*/ 364118 w 607097"/>
                    <a:gd name="connsiteY17" fmla="*/ 242683 h 606722"/>
                    <a:gd name="connsiteX18" fmla="*/ 424838 w 607097"/>
                    <a:gd name="connsiteY18" fmla="*/ 242683 h 606722"/>
                    <a:gd name="connsiteX19" fmla="*/ 434988 w 607097"/>
                    <a:gd name="connsiteY19" fmla="*/ 252725 h 606722"/>
                    <a:gd name="connsiteX20" fmla="*/ 424838 w 607097"/>
                    <a:gd name="connsiteY20" fmla="*/ 262856 h 606722"/>
                    <a:gd name="connsiteX21" fmla="*/ 353968 w 607097"/>
                    <a:gd name="connsiteY21" fmla="*/ 262856 h 606722"/>
                    <a:gd name="connsiteX22" fmla="*/ 343818 w 607097"/>
                    <a:gd name="connsiteY22" fmla="*/ 252725 h 606722"/>
                    <a:gd name="connsiteX23" fmla="*/ 343818 w 607097"/>
                    <a:gd name="connsiteY23" fmla="*/ 111251 h 606722"/>
                    <a:gd name="connsiteX24" fmla="*/ 353968 w 607097"/>
                    <a:gd name="connsiteY24" fmla="*/ 101120 h 606722"/>
                    <a:gd name="connsiteX25" fmla="*/ 496768 w 607097"/>
                    <a:gd name="connsiteY25" fmla="*/ 96101 h 606722"/>
                    <a:gd name="connsiteX26" fmla="*/ 510916 w 607097"/>
                    <a:gd name="connsiteY26" fmla="*/ 96101 h 606722"/>
                    <a:gd name="connsiteX27" fmla="*/ 510916 w 607097"/>
                    <a:gd name="connsiteY27" fmla="*/ 110217 h 606722"/>
                    <a:gd name="connsiteX28" fmla="*/ 496768 w 607097"/>
                    <a:gd name="connsiteY28" fmla="*/ 124334 h 606722"/>
                    <a:gd name="connsiteX29" fmla="*/ 489650 w 607097"/>
                    <a:gd name="connsiteY29" fmla="*/ 127441 h 606722"/>
                    <a:gd name="connsiteX30" fmla="*/ 482620 w 607097"/>
                    <a:gd name="connsiteY30" fmla="*/ 124334 h 606722"/>
                    <a:gd name="connsiteX31" fmla="*/ 482620 w 607097"/>
                    <a:gd name="connsiteY31" fmla="*/ 110217 h 606722"/>
                    <a:gd name="connsiteX32" fmla="*/ 196955 w 607097"/>
                    <a:gd name="connsiteY32" fmla="*/ 96101 h 606722"/>
                    <a:gd name="connsiteX33" fmla="*/ 211110 w 607097"/>
                    <a:gd name="connsiteY33" fmla="*/ 96101 h 606722"/>
                    <a:gd name="connsiteX34" fmla="*/ 225355 w 607097"/>
                    <a:gd name="connsiteY34" fmla="*/ 110217 h 606722"/>
                    <a:gd name="connsiteX35" fmla="*/ 225355 w 607097"/>
                    <a:gd name="connsiteY35" fmla="*/ 124334 h 606722"/>
                    <a:gd name="connsiteX36" fmla="*/ 218233 w 607097"/>
                    <a:gd name="connsiteY36" fmla="*/ 127441 h 606722"/>
                    <a:gd name="connsiteX37" fmla="*/ 211110 w 607097"/>
                    <a:gd name="connsiteY37" fmla="*/ 124334 h 606722"/>
                    <a:gd name="connsiteX38" fmla="*/ 196955 w 607097"/>
                    <a:gd name="connsiteY38" fmla="*/ 110217 h 606722"/>
                    <a:gd name="connsiteX39" fmla="*/ 196955 w 607097"/>
                    <a:gd name="connsiteY39" fmla="*/ 96101 h 606722"/>
                    <a:gd name="connsiteX40" fmla="*/ 103963 w 607097"/>
                    <a:gd name="connsiteY40" fmla="*/ 81761 h 606722"/>
                    <a:gd name="connsiteX41" fmla="*/ 87598 w 607097"/>
                    <a:gd name="connsiteY41" fmla="*/ 90026 h 606722"/>
                    <a:gd name="connsiteX42" fmla="*/ 62322 w 607097"/>
                    <a:gd name="connsiteY42" fmla="*/ 115266 h 606722"/>
                    <a:gd name="connsiteX43" fmla="*/ 34998 w 607097"/>
                    <a:gd name="connsiteY43" fmla="*/ 265902 h 606722"/>
                    <a:gd name="connsiteX44" fmla="*/ 75494 w 607097"/>
                    <a:gd name="connsiteY44" fmla="*/ 322602 h 606722"/>
                    <a:gd name="connsiteX45" fmla="*/ 283044 w 607097"/>
                    <a:gd name="connsiteY45" fmla="*/ 530826 h 606722"/>
                    <a:gd name="connsiteX46" fmla="*/ 327634 w 607097"/>
                    <a:gd name="connsiteY46" fmla="*/ 565219 h 606722"/>
                    <a:gd name="connsiteX47" fmla="*/ 490684 w 607097"/>
                    <a:gd name="connsiteY47" fmla="*/ 545046 h 606722"/>
                    <a:gd name="connsiteX48" fmla="*/ 515960 w 607097"/>
                    <a:gd name="connsiteY48" fmla="*/ 519717 h 606722"/>
                    <a:gd name="connsiteX49" fmla="*/ 521033 w 607097"/>
                    <a:gd name="connsiteY49" fmla="*/ 485324 h 606722"/>
                    <a:gd name="connsiteX50" fmla="*/ 434969 w 607097"/>
                    <a:gd name="connsiteY50" fmla="*/ 411561 h 606722"/>
                    <a:gd name="connsiteX51" fmla="*/ 414321 w 607097"/>
                    <a:gd name="connsiteY51" fmla="*/ 406318 h 606722"/>
                    <a:gd name="connsiteX52" fmla="*/ 413698 w 607097"/>
                    <a:gd name="connsiteY52" fmla="*/ 406496 h 606722"/>
                    <a:gd name="connsiteX53" fmla="*/ 405599 w 607097"/>
                    <a:gd name="connsiteY53" fmla="*/ 413605 h 606722"/>
                    <a:gd name="connsiteX54" fmla="*/ 404620 w 607097"/>
                    <a:gd name="connsiteY54" fmla="*/ 414583 h 606722"/>
                    <a:gd name="connsiteX55" fmla="*/ 373202 w 607097"/>
                    <a:gd name="connsiteY55" fmla="*/ 447910 h 606722"/>
                    <a:gd name="connsiteX56" fmla="*/ 349528 w 607097"/>
                    <a:gd name="connsiteY56" fmla="*/ 459552 h 606722"/>
                    <a:gd name="connsiteX57" fmla="*/ 405599 w 607097"/>
                    <a:gd name="connsiteY57" fmla="*/ 475282 h 606722"/>
                    <a:gd name="connsiteX58" fmla="*/ 414677 w 607097"/>
                    <a:gd name="connsiteY58" fmla="*/ 486391 h 606722"/>
                    <a:gd name="connsiteX59" fmla="*/ 404620 w 607097"/>
                    <a:gd name="connsiteY59" fmla="*/ 495456 h 606722"/>
                    <a:gd name="connsiteX60" fmla="*/ 403552 w 607097"/>
                    <a:gd name="connsiteY60" fmla="*/ 495456 h 606722"/>
                    <a:gd name="connsiteX61" fmla="*/ 287138 w 607097"/>
                    <a:gd name="connsiteY61" fmla="*/ 441866 h 606722"/>
                    <a:gd name="connsiteX62" fmla="*/ 286426 w 607097"/>
                    <a:gd name="connsiteY62" fmla="*/ 441067 h 606722"/>
                    <a:gd name="connsiteX63" fmla="*/ 284112 w 607097"/>
                    <a:gd name="connsiteY63" fmla="*/ 438845 h 606722"/>
                    <a:gd name="connsiteX64" fmla="*/ 176777 w 607097"/>
                    <a:gd name="connsiteY64" fmla="*/ 331666 h 606722"/>
                    <a:gd name="connsiteX65" fmla="*/ 111895 w 607097"/>
                    <a:gd name="connsiteY65" fmla="*/ 213379 h 606722"/>
                    <a:gd name="connsiteX66" fmla="*/ 121062 w 607097"/>
                    <a:gd name="connsiteY66" fmla="*/ 202270 h 606722"/>
                    <a:gd name="connsiteX67" fmla="*/ 132188 w 607097"/>
                    <a:gd name="connsiteY67" fmla="*/ 211335 h 606722"/>
                    <a:gd name="connsiteX68" fmla="*/ 146428 w 607097"/>
                    <a:gd name="connsiteY68" fmla="*/ 259325 h 606722"/>
                    <a:gd name="connsiteX69" fmla="*/ 158532 w 607097"/>
                    <a:gd name="connsiteY69" fmla="*/ 233553 h 606722"/>
                    <a:gd name="connsiteX70" fmla="*/ 191907 w 607097"/>
                    <a:gd name="connsiteY70" fmla="*/ 202270 h 606722"/>
                    <a:gd name="connsiteX71" fmla="*/ 192975 w 607097"/>
                    <a:gd name="connsiteY71" fmla="*/ 201204 h 606722"/>
                    <a:gd name="connsiteX72" fmla="*/ 200006 w 607097"/>
                    <a:gd name="connsiteY72" fmla="*/ 193117 h 606722"/>
                    <a:gd name="connsiteX73" fmla="*/ 194933 w 607097"/>
                    <a:gd name="connsiteY73" fmla="*/ 170899 h 606722"/>
                    <a:gd name="connsiteX74" fmla="*/ 121062 w 607097"/>
                    <a:gd name="connsiteY74" fmla="*/ 84961 h 606722"/>
                    <a:gd name="connsiteX75" fmla="*/ 103963 w 607097"/>
                    <a:gd name="connsiteY75" fmla="*/ 81761 h 606722"/>
                    <a:gd name="connsiteX76" fmla="*/ 353980 w 607097"/>
                    <a:gd name="connsiteY76" fmla="*/ 30273 h 606722"/>
                    <a:gd name="connsiteX77" fmla="*/ 364141 w 607097"/>
                    <a:gd name="connsiteY77" fmla="*/ 40422 h 606722"/>
                    <a:gd name="connsiteX78" fmla="*/ 364141 w 607097"/>
                    <a:gd name="connsiteY78" fmla="*/ 60719 h 606722"/>
                    <a:gd name="connsiteX79" fmla="*/ 353980 w 607097"/>
                    <a:gd name="connsiteY79" fmla="*/ 70778 h 606722"/>
                    <a:gd name="connsiteX80" fmla="*/ 343818 w 607097"/>
                    <a:gd name="connsiteY80" fmla="*/ 60719 h 606722"/>
                    <a:gd name="connsiteX81" fmla="*/ 343818 w 607097"/>
                    <a:gd name="connsiteY81" fmla="*/ 40422 h 606722"/>
                    <a:gd name="connsiteX82" fmla="*/ 353980 w 607097"/>
                    <a:gd name="connsiteY82" fmla="*/ 30273 h 606722"/>
                    <a:gd name="connsiteX83" fmla="*/ 353978 w 607097"/>
                    <a:gd name="connsiteY83" fmla="*/ 20263 h 606722"/>
                    <a:gd name="connsiteX84" fmla="*/ 174819 w 607097"/>
                    <a:gd name="connsiteY84" fmla="*/ 104957 h 606722"/>
                    <a:gd name="connsiteX85" fmla="*/ 214246 w 607097"/>
                    <a:gd name="connsiteY85" fmla="*/ 160768 h 606722"/>
                    <a:gd name="connsiteX86" fmla="*/ 221278 w 607097"/>
                    <a:gd name="connsiteY86" fmla="*/ 198182 h 606722"/>
                    <a:gd name="connsiteX87" fmla="*/ 215938 w 607097"/>
                    <a:gd name="connsiteY87" fmla="*/ 209025 h 606722"/>
                    <a:gd name="connsiteX88" fmla="*/ 210152 w 607097"/>
                    <a:gd name="connsiteY88" fmla="*/ 215157 h 606722"/>
                    <a:gd name="connsiteX89" fmla="*/ 206147 w 607097"/>
                    <a:gd name="connsiteY89" fmla="*/ 218445 h 606722"/>
                    <a:gd name="connsiteX90" fmla="*/ 176777 w 607097"/>
                    <a:gd name="connsiteY90" fmla="*/ 244662 h 606722"/>
                    <a:gd name="connsiteX91" fmla="*/ 182829 w 607097"/>
                    <a:gd name="connsiteY91" fmla="*/ 308382 h 606722"/>
                    <a:gd name="connsiteX92" fmla="*/ 189504 w 607097"/>
                    <a:gd name="connsiteY92" fmla="*/ 315136 h 606722"/>
                    <a:gd name="connsiteX93" fmla="*/ 189949 w 607097"/>
                    <a:gd name="connsiteY93" fmla="*/ 315492 h 606722"/>
                    <a:gd name="connsiteX94" fmla="*/ 191640 w 607097"/>
                    <a:gd name="connsiteY94" fmla="*/ 317269 h 606722"/>
                    <a:gd name="connsiteX95" fmla="*/ 298263 w 607097"/>
                    <a:gd name="connsiteY95" fmla="*/ 424714 h 606722"/>
                    <a:gd name="connsiteX96" fmla="*/ 362077 w 607097"/>
                    <a:gd name="connsiteY96" fmla="*/ 430758 h 606722"/>
                    <a:gd name="connsiteX97" fmla="*/ 388422 w 607097"/>
                    <a:gd name="connsiteY97" fmla="*/ 401430 h 606722"/>
                    <a:gd name="connsiteX98" fmla="*/ 408625 w 607097"/>
                    <a:gd name="connsiteY98" fmla="*/ 386233 h 606722"/>
                    <a:gd name="connsiteX99" fmla="*/ 419661 w 607097"/>
                    <a:gd name="connsiteY99" fmla="*/ 384900 h 606722"/>
                    <a:gd name="connsiteX100" fmla="*/ 446094 w 607097"/>
                    <a:gd name="connsiteY100" fmla="*/ 392365 h 606722"/>
                    <a:gd name="connsiteX101" fmla="*/ 501987 w 607097"/>
                    <a:gd name="connsiteY101" fmla="*/ 431646 h 606722"/>
                    <a:gd name="connsiteX102" fmla="*/ 586894 w 607097"/>
                    <a:gd name="connsiteY102" fmla="*/ 252749 h 606722"/>
                    <a:gd name="connsiteX103" fmla="*/ 353978 w 607097"/>
                    <a:gd name="connsiteY103" fmla="*/ 20263 h 606722"/>
                    <a:gd name="connsiteX104" fmla="*/ 353978 w 607097"/>
                    <a:gd name="connsiteY104" fmla="*/ 0 h 606722"/>
                    <a:gd name="connsiteX105" fmla="*/ 607097 w 607097"/>
                    <a:gd name="connsiteY105" fmla="*/ 252749 h 606722"/>
                    <a:gd name="connsiteX106" fmla="*/ 517384 w 607097"/>
                    <a:gd name="connsiteY106" fmla="*/ 445421 h 606722"/>
                    <a:gd name="connsiteX107" fmla="*/ 540257 w 607097"/>
                    <a:gd name="connsiteY107" fmla="*/ 474215 h 606722"/>
                    <a:gd name="connsiteX108" fmla="*/ 531179 w 607097"/>
                    <a:gd name="connsiteY108" fmla="*/ 532870 h 606722"/>
                    <a:gd name="connsiteX109" fmla="*/ 505814 w 607097"/>
                    <a:gd name="connsiteY109" fmla="*/ 559176 h 606722"/>
                    <a:gd name="connsiteX110" fmla="*/ 401505 w 607097"/>
                    <a:gd name="connsiteY110" fmla="*/ 606722 h 606722"/>
                    <a:gd name="connsiteX111" fmla="*/ 318556 w 607097"/>
                    <a:gd name="connsiteY111" fmla="*/ 582460 h 606722"/>
                    <a:gd name="connsiteX112" fmla="*/ 268893 w 607097"/>
                    <a:gd name="connsiteY112" fmla="*/ 543979 h 606722"/>
                    <a:gd name="connsiteX113" fmla="*/ 61343 w 607097"/>
                    <a:gd name="connsiteY113" fmla="*/ 336732 h 606722"/>
                    <a:gd name="connsiteX114" fmla="*/ 16753 w 607097"/>
                    <a:gd name="connsiteY114" fmla="*/ 275056 h 606722"/>
                    <a:gd name="connsiteX115" fmla="*/ 48171 w 607097"/>
                    <a:gd name="connsiteY115" fmla="*/ 101135 h 606722"/>
                    <a:gd name="connsiteX116" fmla="*/ 73447 w 607097"/>
                    <a:gd name="connsiteY116" fmla="*/ 75807 h 606722"/>
                    <a:gd name="connsiteX117" fmla="*/ 132188 w 607097"/>
                    <a:gd name="connsiteY117" fmla="*/ 66742 h 606722"/>
                    <a:gd name="connsiteX118" fmla="*/ 160757 w 607097"/>
                    <a:gd name="connsiteY118" fmla="*/ 89315 h 606722"/>
                    <a:gd name="connsiteX119" fmla="*/ 353978 w 607097"/>
                    <a:gd name="connsiteY119" fmla="*/ 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</a:cxnLst>
                  <a:rect l="l" t="t" r="r" b="b"/>
                  <a:pathLst>
                    <a:path w="607097" h="606722">
                      <a:moveTo>
                        <a:pt x="482620" y="381169"/>
                      </a:moveTo>
                      <a:cubicBezTo>
                        <a:pt x="486624" y="377172"/>
                        <a:pt x="492675" y="377172"/>
                        <a:pt x="496768" y="381169"/>
                      </a:cubicBezTo>
                      <a:lnTo>
                        <a:pt x="510916" y="395381"/>
                      </a:lnTo>
                      <a:cubicBezTo>
                        <a:pt x="515009" y="399379"/>
                        <a:pt x="515009" y="405419"/>
                        <a:pt x="510916" y="409505"/>
                      </a:cubicBezTo>
                      <a:cubicBezTo>
                        <a:pt x="509937" y="412525"/>
                        <a:pt x="506912" y="412525"/>
                        <a:pt x="503887" y="412525"/>
                      </a:cubicBezTo>
                      <a:cubicBezTo>
                        <a:pt x="500861" y="412525"/>
                        <a:pt x="498815" y="411548"/>
                        <a:pt x="496768" y="409505"/>
                      </a:cubicBezTo>
                      <a:lnTo>
                        <a:pt x="482620" y="395381"/>
                      </a:lnTo>
                      <a:cubicBezTo>
                        <a:pt x="478527" y="391295"/>
                        <a:pt x="478527" y="385255"/>
                        <a:pt x="482620" y="381169"/>
                      </a:cubicBezTo>
                      <a:close/>
                      <a:moveTo>
                        <a:pt x="546398" y="242745"/>
                      </a:moveTo>
                      <a:lnTo>
                        <a:pt x="566606" y="242745"/>
                      </a:lnTo>
                      <a:cubicBezTo>
                        <a:pt x="572659" y="242745"/>
                        <a:pt x="576754" y="246732"/>
                        <a:pt x="576754" y="252756"/>
                      </a:cubicBezTo>
                      <a:cubicBezTo>
                        <a:pt x="576754" y="258869"/>
                        <a:pt x="572659" y="262856"/>
                        <a:pt x="566606" y="262856"/>
                      </a:cubicBezTo>
                      <a:lnTo>
                        <a:pt x="546398" y="262856"/>
                      </a:lnTo>
                      <a:cubicBezTo>
                        <a:pt x="540255" y="262856"/>
                        <a:pt x="536249" y="258869"/>
                        <a:pt x="536249" y="252756"/>
                      </a:cubicBezTo>
                      <a:cubicBezTo>
                        <a:pt x="536249" y="246732"/>
                        <a:pt x="540255" y="242745"/>
                        <a:pt x="546398" y="242745"/>
                      </a:cubicBezTo>
                      <a:close/>
                      <a:moveTo>
                        <a:pt x="353968" y="101120"/>
                      </a:moveTo>
                      <a:cubicBezTo>
                        <a:pt x="360022" y="101120"/>
                        <a:pt x="364118" y="105119"/>
                        <a:pt x="364118" y="111251"/>
                      </a:cubicBezTo>
                      <a:lnTo>
                        <a:pt x="364118" y="242683"/>
                      </a:lnTo>
                      <a:lnTo>
                        <a:pt x="424838" y="242683"/>
                      </a:lnTo>
                      <a:cubicBezTo>
                        <a:pt x="430893" y="242683"/>
                        <a:pt x="434988" y="246682"/>
                        <a:pt x="434988" y="252725"/>
                      </a:cubicBezTo>
                      <a:cubicBezTo>
                        <a:pt x="434988" y="258857"/>
                        <a:pt x="430893" y="262856"/>
                        <a:pt x="424838" y="262856"/>
                      </a:cubicBezTo>
                      <a:lnTo>
                        <a:pt x="353968" y="262856"/>
                      </a:lnTo>
                      <a:cubicBezTo>
                        <a:pt x="347825" y="262856"/>
                        <a:pt x="343818" y="258857"/>
                        <a:pt x="343818" y="252725"/>
                      </a:cubicBezTo>
                      <a:lnTo>
                        <a:pt x="343818" y="111251"/>
                      </a:lnTo>
                      <a:cubicBezTo>
                        <a:pt x="343818" y="105119"/>
                        <a:pt x="347825" y="101120"/>
                        <a:pt x="353968" y="101120"/>
                      </a:cubicBezTo>
                      <a:close/>
                      <a:moveTo>
                        <a:pt x="496768" y="96101"/>
                      </a:moveTo>
                      <a:cubicBezTo>
                        <a:pt x="500861" y="92017"/>
                        <a:pt x="506912" y="92017"/>
                        <a:pt x="510916" y="96101"/>
                      </a:cubicBezTo>
                      <a:cubicBezTo>
                        <a:pt x="515009" y="100096"/>
                        <a:pt x="515009" y="106222"/>
                        <a:pt x="510916" y="110217"/>
                      </a:cubicBezTo>
                      <a:lnTo>
                        <a:pt x="496768" y="124334"/>
                      </a:lnTo>
                      <a:cubicBezTo>
                        <a:pt x="494722" y="126376"/>
                        <a:pt x="492675" y="127441"/>
                        <a:pt x="489650" y="127441"/>
                      </a:cubicBezTo>
                      <a:cubicBezTo>
                        <a:pt x="486624" y="127441"/>
                        <a:pt x="484578" y="126376"/>
                        <a:pt x="482620" y="124334"/>
                      </a:cubicBezTo>
                      <a:cubicBezTo>
                        <a:pt x="478527" y="120338"/>
                        <a:pt x="478527" y="114301"/>
                        <a:pt x="482620" y="110217"/>
                      </a:cubicBezTo>
                      <a:close/>
                      <a:moveTo>
                        <a:pt x="196955" y="96101"/>
                      </a:moveTo>
                      <a:cubicBezTo>
                        <a:pt x="201050" y="92017"/>
                        <a:pt x="207104" y="92017"/>
                        <a:pt x="211110" y="96101"/>
                      </a:cubicBezTo>
                      <a:lnTo>
                        <a:pt x="225355" y="110217"/>
                      </a:lnTo>
                      <a:cubicBezTo>
                        <a:pt x="229361" y="114301"/>
                        <a:pt x="229361" y="120338"/>
                        <a:pt x="225355" y="124334"/>
                      </a:cubicBezTo>
                      <a:cubicBezTo>
                        <a:pt x="223307" y="126376"/>
                        <a:pt x="220280" y="127441"/>
                        <a:pt x="218233" y="127441"/>
                      </a:cubicBezTo>
                      <a:cubicBezTo>
                        <a:pt x="215206" y="127441"/>
                        <a:pt x="213158" y="126376"/>
                        <a:pt x="211110" y="124334"/>
                      </a:cubicBezTo>
                      <a:lnTo>
                        <a:pt x="196955" y="110217"/>
                      </a:lnTo>
                      <a:cubicBezTo>
                        <a:pt x="192949" y="106222"/>
                        <a:pt x="192949" y="100096"/>
                        <a:pt x="196955" y="96101"/>
                      </a:cubicBezTo>
                      <a:close/>
                      <a:moveTo>
                        <a:pt x="103963" y="81761"/>
                      </a:moveTo>
                      <a:cubicBezTo>
                        <a:pt x="98011" y="82650"/>
                        <a:pt x="92182" y="85449"/>
                        <a:pt x="87598" y="90026"/>
                      </a:cubicBezTo>
                      <a:lnTo>
                        <a:pt x="62322" y="115266"/>
                      </a:lnTo>
                      <a:cubicBezTo>
                        <a:pt x="17732" y="159790"/>
                        <a:pt x="8654" y="209291"/>
                        <a:pt x="34998" y="265902"/>
                      </a:cubicBezTo>
                      <a:cubicBezTo>
                        <a:pt x="44077" y="285187"/>
                        <a:pt x="57249" y="304383"/>
                        <a:pt x="75494" y="322602"/>
                      </a:cubicBezTo>
                      <a:lnTo>
                        <a:pt x="283044" y="530826"/>
                      </a:lnTo>
                      <a:cubicBezTo>
                        <a:pt x="297284" y="545046"/>
                        <a:pt x="312415" y="557132"/>
                        <a:pt x="327634" y="565219"/>
                      </a:cubicBezTo>
                      <a:cubicBezTo>
                        <a:pt x="389401" y="599612"/>
                        <a:pt x="443068" y="592503"/>
                        <a:pt x="490684" y="545046"/>
                      </a:cubicBezTo>
                      <a:lnTo>
                        <a:pt x="515960" y="519717"/>
                      </a:lnTo>
                      <a:cubicBezTo>
                        <a:pt x="525127" y="510653"/>
                        <a:pt x="527085" y="496433"/>
                        <a:pt x="521033" y="485324"/>
                      </a:cubicBezTo>
                      <a:cubicBezTo>
                        <a:pt x="503856" y="451998"/>
                        <a:pt x="434969" y="411561"/>
                        <a:pt x="434969" y="411561"/>
                      </a:cubicBezTo>
                      <a:cubicBezTo>
                        <a:pt x="427582" y="407829"/>
                        <a:pt x="420195" y="405874"/>
                        <a:pt x="414321" y="406318"/>
                      </a:cubicBezTo>
                      <a:cubicBezTo>
                        <a:pt x="414143" y="406318"/>
                        <a:pt x="413876" y="406407"/>
                        <a:pt x="413698" y="406496"/>
                      </a:cubicBezTo>
                      <a:cubicBezTo>
                        <a:pt x="409604" y="407473"/>
                        <a:pt x="407646" y="409517"/>
                        <a:pt x="405599" y="413605"/>
                      </a:cubicBezTo>
                      <a:lnTo>
                        <a:pt x="404620" y="414583"/>
                      </a:lnTo>
                      <a:cubicBezTo>
                        <a:pt x="397500" y="423648"/>
                        <a:pt x="380323" y="443910"/>
                        <a:pt x="373202" y="447910"/>
                      </a:cubicBezTo>
                      <a:cubicBezTo>
                        <a:pt x="365548" y="453242"/>
                        <a:pt x="357538" y="457152"/>
                        <a:pt x="349528" y="459552"/>
                      </a:cubicBezTo>
                      <a:cubicBezTo>
                        <a:pt x="365281" y="466839"/>
                        <a:pt x="384328" y="473149"/>
                        <a:pt x="405599" y="475282"/>
                      </a:cubicBezTo>
                      <a:cubicBezTo>
                        <a:pt x="410672" y="476259"/>
                        <a:pt x="414677" y="480259"/>
                        <a:pt x="414677" y="486391"/>
                      </a:cubicBezTo>
                      <a:cubicBezTo>
                        <a:pt x="413698" y="491456"/>
                        <a:pt x="409604" y="495456"/>
                        <a:pt x="404620" y="495456"/>
                      </a:cubicBezTo>
                      <a:lnTo>
                        <a:pt x="403552" y="495456"/>
                      </a:lnTo>
                      <a:cubicBezTo>
                        <a:pt x="333686" y="488346"/>
                        <a:pt x="288117" y="443910"/>
                        <a:pt x="287138" y="441866"/>
                      </a:cubicBezTo>
                      <a:cubicBezTo>
                        <a:pt x="286871" y="441600"/>
                        <a:pt x="286604" y="441333"/>
                        <a:pt x="286426" y="441067"/>
                      </a:cubicBezTo>
                      <a:cubicBezTo>
                        <a:pt x="285625" y="440356"/>
                        <a:pt x="284824" y="439645"/>
                        <a:pt x="284112" y="438845"/>
                      </a:cubicBezTo>
                      <a:lnTo>
                        <a:pt x="176777" y="331666"/>
                      </a:lnTo>
                      <a:cubicBezTo>
                        <a:pt x="174730" y="329622"/>
                        <a:pt x="119015" y="284120"/>
                        <a:pt x="111895" y="213379"/>
                      </a:cubicBezTo>
                      <a:cubicBezTo>
                        <a:pt x="110916" y="208314"/>
                        <a:pt x="115010" y="203248"/>
                        <a:pt x="121062" y="202270"/>
                      </a:cubicBezTo>
                      <a:cubicBezTo>
                        <a:pt x="127115" y="201204"/>
                        <a:pt x="131209" y="205292"/>
                        <a:pt x="132188" y="211335"/>
                      </a:cubicBezTo>
                      <a:cubicBezTo>
                        <a:pt x="133968" y="229109"/>
                        <a:pt x="139486" y="245284"/>
                        <a:pt x="146428" y="259325"/>
                      </a:cubicBezTo>
                      <a:cubicBezTo>
                        <a:pt x="148653" y="250794"/>
                        <a:pt x="152658" y="242262"/>
                        <a:pt x="158532" y="233553"/>
                      </a:cubicBezTo>
                      <a:cubicBezTo>
                        <a:pt x="162537" y="227510"/>
                        <a:pt x="183808" y="210358"/>
                        <a:pt x="191907" y="202270"/>
                      </a:cubicBezTo>
                      <a:lnTo>
                        <a:pt x="192975" y="201204"/>
                      </a:lnTo>
                      <a:cubicBezTo>
                        <a:pt x="196980" y="199160"/>
                        <a:pt x="199027" y="196138"/>
                        <a:pt x="200006" y="193117"/>
                      </a:cubicBezTo>
                      <a:cubicBezTo>
                        <a:pt x="202053" y="187073"/>
                        <a:pt x="200006" y="178986"/>
                        <a:pt x="194933" y="170899"/>
                      </a:cubicBezTo>
                      <a:cubicBezTo>
                        <a:pt x="194933" y="169832"/>
                        <a:pt x="154438" y="102113"/>
                        <a:pt x="121062" y="84961"/>
                      </a:cubicBezTo>
                      <a:cubicBezTo>
                        <a:pt x="115989" y="81895"/>
                        <a:pt x="109915" y="80873"/>
                        <a:pt x="103963" y="81761"/>
                      </a:cubicBezTo>
                      <a:close/>
                      <a:moveTo>
                        <a:pt x="353980" y="30273"/>
                      </a:moveTo>
                      <a:cubicBezTo>
                        <a:pt x="360041" y="30273"/>
                        <a:pt x="364141" y="34368"/>
                        <a:pt x="364141" y="40422"/>
                      </a:cubicBezTo>
                      <a:lnTo>
                        <a:pt x="364141" y="60719"/>
                      </a:lnTo>
                      <a:cubicBezTo>
                        <a:pt x="364141" y="66772"/>
                        <a:pt x="360041" y="70778"/>
                        <a:pt x="353980" y="70778"/>
                      </a:cubicBezTo>
                      <a:cubicBezTo>
                        <a:pt x="347829" y="70778"/>
                        <a:pt x="343818" y="66772"/>
                        <a:pt x="343818" y="60719"/>
                      </a:cubicBezTo>
                      <a:lnTo>
                        <a:pt x="343818" y="40422"/>
                      </a:lnTo>
                      <a:cubicBezTo>
                        <a:pt x="343818" y="34368"/>
                        <a:pt x="347829" y="30273"/>
                        <a:pt x="353980" y="30273"/>
                      </a:cubicBezTo>
                      <a:close/>
                      <a:moveTo>
                        <a:pt x="353978" y="20263"/>
                      </a:moveTo>
                      <a:cubicBezTo>
                        <a:pt x="284112" y="20263"/>
                        <a:pt x="219409" y="50479"/>
                        <a:pt x="174819" y="104957"/>
                      </a:cubicBezTo>
                      <a:cubicBezTo>
                        <a:pt x="196446" y="130818"/>
                        <a:pt x="212911" y="158901"/>
                        <a:pt x="214246" y="160768"/>
                      </a:cubicBezTo>
                      <a:cubicBezTo>
                        <a:pt x="221278" y="173920"/>
                        <a:pt x="224304" y="187073"/>
                        <a:pt x="221278" y="198182"/>
                      </a:cubicBezTo>
                      <a:cubicBezTo>
                        <a:pt x="220299" y="202093"/>
                        <a:pt x="218430" y="205736"/>
                        <a:pt x="215938" y="209025"/>
                      </a:cubicBezTo>
                      <a:cubicBezTo>
                        <a:pt x="214336" y="211335"/>
                        <a:pt x="212466" y="213379"/>
                        <a:pt x="210152" y="215157"/>
                      </a:cubicBezTo>
                      <a:cubicBezTo>
                        <a:pt x="208906" y="216312"/>
                        <a:pt x="207482" y="217378"/>
                        <a:pt x="206147" y="218445"/>
                      </a:cubicBezTo>
                      <a:cubicBezTo>
                        <a:pt x="193954" y="228487"/>
                        <a:pt x="179803" y="241640"/>
                        <a:pt x="176777" y="244662"/>
                      </a:cubicBezTo>
                      <a:cubicBezTo>
                        <a:pt x="160579" y="269012"/>
                        <a:pt x="162537" y="287142"/>
                        <a:pt x="182829" y="308382"/>
                      </a:cubicBezTo>
                      <a:lnTo>
                        <a:pt x="189504" y="315136"/>
                      </a:lnTo>
                      <a:cubicBezTo>
                        <a:pt x="189771" y="315403"/>
                        <a:pt x="189949" y="315492"/>
                        <a:pt x="189949" y="315492"/>
                      </a:cubicBezTo>
                      <a:cubicBezTo>
                        <a:pt x="190572" y="316025"/>
                        <a:pt x="191195" y="316647"/>
                        <a:pt x="191640" y="317269"/>
                      </a:cubicBezTo>
                      <a:lnTo>
                        <a:pt x="298263" y="424714"/>
                      </a:lnTo>
                      <a:cubicBezTo>
                        <a:pt x="318556" y="444888"/>
                        <a:pt x="337780" y="446932"/>
                        <a:pt x="362077" y="430758"/>
                      </a:cubicBezTo>
                      <a:cubicBezTo>
                        <a:pt x="365103" y="428713"/>
                        <a:pt x="378275" y="414583"/>
                        <a:pt x="388422" y="401430"/>
                      </a:cubicBezTo>
                      <a:cubicBezTo>
                        <a:pt x="393406" y="393343"/>
                        <a:pt x="400526" y="388277"/>
                        <a:pt x="408625" y="386233"/>
                      </a:cubicBezTo>
                      <a:cubicBezTo>
                        <a:pt x="412096" y="385344"/>
                        <a:pt x="415834" y="384900"/>
                        <a:pt x="419661" y="384900"/>
                      </a:cubicBezTo>
                      <a:cubicBezTo>
                        <a:pt x="428294" y="384989"/>
                        <a:pt x="437728" y="387477"/>
                        <a:pt x="446094" y="392365"/>
                      </a:cubicBezTo>
                      <a:cubicBezTo>
                        <a:pt x="447963" y="393609"/>
                        <a:pt x="476088" y="410051"/>
                        <a:pt x="501987" y="431646"/>
                      </a:cubicBezTo>
                      <a:cubicBezTo>
                        <a:pt x="556545" y="387122"/>
                        <a:pt x="586894" y="322513"/>
                        <a:pt x="586894" y="252749"/>
                      </a:cubicBezTo>
                      <a:cubicBezTo>
                        <a:pt x="586894" y="124330"/>
                        <a:pt x="482585" y="20263"/>
                        <a:pt x="353978" y="20263"/>
                      </a:cubicBezTo>
                      <a:close/>
                      <a:moveTo>
                        <a:pt x="353978" y="0"/>
                      </a:moveTo>
                      <a:cubicBezTo>
                        <a:pt x="493710" y="0"/>
                        <a:pt x="607097" y="113222"/>
                        <a:pt x="607097" y="252749"/>
                      </a:cubicBezTo>
                      <a:cubicBezTo>
                        <a:pt x="607097" y="327578"/>
                        <a:pt x="574345" y="397786"/>
                        <a:pt x="517384" y="445421"/>
                      </a:cubicBezTo>
                      <a:cubicBezTo>
                        <a:pt x="526907" y="454753"/>
                        <a:pt x="535184" y="464617"/>
                        <a:pt x="540257" y="474215"/>
                      </a:cubicBezTo>
                      <a:cubicBezTo>
                        <a:pt x="550403" y="493412"/>
                        <a:pt x="547377" y="517673"/>
                        <a:pt x="531179" y="532870"/>
                      </a:cubicBezTo>
                      <a:lnTo>
                        <a:pt x="505814" y="559176"/>
                      </a:lnTo>
                      <a:cubicBezTo>
                        <a:pt x="474486" y="590548"/>
                        <a:pt x="438974" y="606722"/>
                        <a:pt x="401505" y="606722"/>
                      </a:cubicBezTo>
                      <a:cubicBezTo>
                        <a:pt x="375249" y="606722"/>
                        <a:pt x="346858" y="598635"/>
                        <a:pt x="318556" y="582460"/>
                      </a:cubicBezTo>
                      <a:cubicBezTo>
                        <a:pt x="301289" y="573307"/>
                        <a:pt x="285091" y="560154"/>
                        <a:pt x="268893" y="543979"/>
                      </a:cubicBezTo>
                      <a:lnTo>
                        <a:pt x="61343" y="336732"/>
                      </a:lnTo>
                      <a:cubicBezTo>
                        <a:pt x="42030" y="317536"/>
                        <a:pt x="26899" y="296296"/>
                        <a:pt x="16753" y="275056"/>
                      </a:cubicBezTo>
                      <a:cubicBezTo>
                        <a:pt x="-13596" y="210358"/>
                        <a:pt x="-2471" y="151703"/>
                        <a:pt x="48171" y="101135"/>
                      </a:cubicBezTo>
                      <a:lnTo>
                        <a:pt x="73447" y="75807"/>
                      </a:lnTo>
                      <a:cubicBezTo>
                        <a:pt x="88666" y="60699"/>
                        <a:pt x="112963" y="56611"/>
                        <a:pt x="132188" y="66742"/>
                      </a:cubicBezTo>
                      <a:cubicBezTo>
                        <a:pt x="141711" y="71719"/>
                        <a:pt x="151412" y="79895"/>
                        <a:pt x="160757" y="89315"/>
                      </a:cubicBezTo>
                      <a:cubicBezTo>
                        <a:pt x="209173" y="32971"/>
                        <a:pt x="278772" y="0"/>
                        <a:pt x="35397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latin typeface="Calibri"/>
                    <a:ea typeface="微软雅黑"/>
                    <a:cs typeface="+mn-cs"/>
                  </a:endParaRPr>
                </a:p>
              </p:txBody>
            </p:sp>
          </p:grpSp>
          <p:grpSp>
            <p:nvGrpSpPr>
              <p:cNvPr id="34" name="îsļîḑe"/>
              <p:cNvGrpSpPr>
                <a:grpSpLocks/>
              </p:cNvGrpSpPr>
              <p:nvPr/>
            </p:nvGrpSpPr>
            <p:grpSpPr>
              <a:xfrm>
                <a:off x="7324344" y="3499444"/>
                <a:ext cx="2089796" cy="2089796"/>
                <a:chOff x="7938352" y="3573016"/>
                <a:chExt cx="839888" cy="839888"/>
              </a:xfrm>
            </p:grpSpPr>
            <p:sp>
              <p:nvSpPr>
                <p:cNvPr id="35" name="iṧľiḓê"/>
                <p:cNvSpPr/>
                <p:nvPr/>
              </p:nvSpPr>
              <p:spPr>
                <a:xfrm>
                  <a:off x="7938352" y="3573016"/>
                  <a:ext cx="839888" cy="839888"/>
                </a:xfrm>
                <a:prstGeom prst="diamond">
                  <a:avLst/>
                </a:prstGeom>
                <a:solidFill>
                  <a:schemeClr val="accent3">
                    <a:alpha val="80000"/>
                  </a:schemeClr>
                </a:solidFill>
                <a:ln w="19050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solidFill>
                      <a:srgbClr val="FFFFFF"/>
                    </a:solidFill>
                    <a:latin typeface="Calibri"/>
                    <a:ea typeface="微软雅黑"/>
                  </a:endParaRPr>
                </a:p>
              </p:txBody>
            </p:sp>
            <p:sp>
              <p:nvSpPr>
                <p:cNvPr id="36" name="íś1ïḋe"/>
                <p:cNvSpPr/>
                <p:nvPr/>
              </p:nvSpPr>
              <p:spPr bwMode="auto">
                <a:xfrm>
                  <a:off x="8157808" y="3792780"/>
                  <a:ext cx="400976" cy="400361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607535" h="606604">
                      <a:moveTo>
                        <a:pt x="394900" y="353768"/>
                      </a:moveTo>
                      <a:cubicBezTo>
                        <a:pt x="400507" y="353768"/>
                        <a:pt x="405045" y="358301"/>
                        <a:pt x="405045" y="363900"/>
                      </a:cubicBezTo>
                      <a:lnTo>
                        <a:pt x="405045" y="515616"/>
                      </a:lnTo>
                      <a:cubicBezTo>
                        <a:pt x="405045" y="543435"/>
                        <a:pt x="382353" y="566099"/>
                        <a:pt x="354410" y="566099"/>
                      </a:cubicBezTo>
                      <a:lnTo>
                        <a:pt x="212649" y="566099"/>
                      </a:lnTo>
                      <a:cubicBezTo>
                        <a:pt x="207131" y="566099"/>
                        <a:pt x="202593" y="561566"/>
                        <a:pt x="202593" y="556056"/>
                      </a:cubicBezTo>
                      <a:cubicBezTo>
                        <a:pt x="202593" y="550457"/>
                        <a:pt x="207131" y="545924"/>
                        <a:pt x="212649" y="545924"/>
                      </a:cubicBezTo>
                      <a:lnTo>
                        <a:pt x="354410" y="545924"/>
                      </a:lnTo>
                      <a:cubicBezTo>
                        <a:pt x="371140" y="545924"/>
                        <a:pt x="384845" y="532325"/>
                        <a:pt x="384845" y="515616"/>
                      </a:cubicBezTo>
                      <a:lnTo>
                        <a:pt x="384845" y="363900"/>
                      </a:lnTo>
                      <a:cubicBezTo>
                        <a:pt x="384845" y="358301"/>
                        <a:pt x="389294" y="353768"/>
                        <a:pt x="394900" y="353768"/>
                      </a:cubicBezTo>
                      <a:close/>
                      <a:moveTo>
                        <a:pt x="131640" y="262739"/>
                      </a:moveTo>
                      <a:cubicBezTo>
                        <a:pt x="137236" y="262739"/>
                        <a:pt x="141766" y="267271"/>
                        <a:pt x="141766" y="272870"/>
                      </a:cubicBezTo>
                      <a:lnTo>
                        <a:pt x="141766" y="333565"/>
                      </a:lnTo>
                      <a:cubicBezTo>
                        <a:pt x="141766" y="339075"/>
                        <a:pt x="137236" y="343607"/>
                        <a:pt x="131640" y="343607"/>
                      </a:cubicBezTo>
                      <a:cubicBezTo>
                        <a:pt x="126044" y="343607"/>
                        <a:pt x="121514" y="339075"/>
                        <a:pt x="121514" y="333565"/>
                      </a:cubicBezTo>
                      <a:lnTo>
                        <a:pt x="121514" y="272870"/>
                      </a:lnTo>
                      <a:cubicBezTo>
                        <a:pt x="121514" y="267271"/>
                        <a:pt x="126044" y="262739"/>
                        <a:pt x="131640" y="262739"/>
                      </a:cubicBezTo>
                      <a:close/>
                      <a:moveTo>
                        <a:pt x="489057" y="194973"/>
                      </a:moveTo>
                      <a:cubicBezTo>
                        <a:pt x="492973" y="190974"/>
                        <a:pt x="499381" y="190974"/>
                        <a:pt x="503386" y="194973"/>
                      </a:cubicBezTo>
                      <a:lnTo>
                        <a:pt x="604576" y="296095"/>
                      </a:lnTo>
                      <a:cubicBezTo>
                        <a:pt x="605555" y="296983"/>
                        <a:pt x="606267" y="298138"/>
                        <a:pt x="606801" y="299383"/>
                      </a:cubicBezTo>
                      <a:cubicBezTo>
                        <a:pt x="607780" y="301871"/>
                        <a:pt x="607780" y="304625"/>
                        <a:pt x="606801" y="307113"/>
                      </a:cubicBezTo>
                      <a:cubicBezTo>
                        <a:pt x="606267" y="308357"/>
                        <a:pt x="605555" y="309424"/>
                        <a:pt x="604576" y="310401"/>
                      </a:cubicBezTo>
                      <a:lnTo>
                        <a:pt x="503386" y="411434"/>
                      </a:lnTo>
                      <a:cubicBezTo>
                        <a:pt x="501339" y="413478"/>
                        <a:pt x="498758" y="414455"/>
                        <a:pt x="496177" y="414455"/>
                      </a:cubicBezTo>
                      <a:cubicBezTo>
                        <a:pt x="493596" y="414455"/>
                        <a:pt x="491015" y="413478"/>
                        <a:pt x="489057" y="411434"/>
                      </a:cubicBezTo>
                      <a:cubicBezTo>
                        <a:pt x="485052" y="407524"/>
                        <a:pt x="485052" y="401126"/>
                        <a:pt x="489057" y="397217"/>
                      </a:cubicBezTo>
                      <a:lnTo>
                        <a:pt x="572982" y="313333"/>
                      </a:lnTo>
                      <a:lnTo>
                        <a:pt x="232921" y="313333"/>
                      </a:lnTo>
                      <a:cubicBezTo>
                        <a:pt x="227314" y="313333"/>
                        <a:pt x="222775" y="308802"/>
                        <a:pt x="222775" y="303203"/>
                      </a:cubicBezTo>
                      <a:cubicBezTo>
                        <a:pt x="222775" y="297605"/>
                        <a:pt x="227314" y="293074"/>
                        <a:pt x="232921" y="293074"/>
                      </a:cubicBezTo>
                      <a:lnTo>
                        <a:pt x="572982" y="293074"/>
                      </a:lnTo>
                      <a:lnTo>
                        <a:pt x="489057" y="209279"/>
                      </a:lnTo>
                      <a:cubicBezTo>
                        <a:pt x="485052" y="205281"/>
                        <a:pt x="485052" y="198883"/>
                        <a:pt x="489057" y="194973"/>
                      </a:cubicBezTo>
                      <a:close/>
                      <a:moveTo>
                        <a:pt x="211398" y="40317"/>
                      </a:moveTo>
                      <a:lnTo>
                        <a:pt x="354409" y="40317"/>
                      </a:lnTo>
                      <a:cubicBezTo>
                        <a:pt x="382353" y="40317"/>
                        <a:pt x="405046" y="62981"/>
                        <a:pt x="405046" y="90889"/>
                      </a:cubicBezTo>
                      <a:lnTo>
                        <a:pt x="405046" y="242605"/>
                      </a:lnTo>
                      <a:cubicBezTo>
                        <a:pt x="405046" y="248115"/>
                        <a:pt x="400508" y="252648"/>
                        <a:pt x="394901" y="252648"/>
                      </a:cubicBezTo>
                      <a:cubicBezTo>
                        <a:pt x="389295" y="252648"/>
                        <a:pt x="384845" y="248115"/>
                        <a:pt x="384845" y="242605"/>
                      </a:cubicBezTo>
                      <a:lnTo>
                        <a:pt x="384845" y="90889"/>
                      </a:lnTo>
                      <a:cubicBezTo>
                        <a:pt x="384845" y="74180"/>
                        <a:pt x="371140" y="60581"/>
                        <a:pt x="354409" y="60581"/>
                      </a:cubicBezTo>
                      <a:lnTo>
                        <a:pt x="211398" y="60581"/>
                      </a:lnTo>
                      <a:cubicBezTo>
                        <a:pt x="205791" y="60581"/>
                        <a:pt x="201253" y="56048"/>
                        <a:pt x="201253" y="50449"/>
                      </a:cubicBezTo>
                      <a:cubicBezTo>
                        <a:pt x="201253" y="44850"/>
                        <a:pt x="205791" y="40317"/>
                        <a:pt x="211398" y="40317"/>
                      </a:cubicBezTo>
                      <a:close/>
                      <a:moveTo>
                        <a:pt x="147115" y="20146"/>
                      </a:moveTo>
                      <a:cubicBezTo>
                        <a:pt x="144890" y="20146"/>
                        <a:pt x="142576" y="20590"/>
                        <a:pt x="140084" y="21568"/>
                      </a:cubicBezTo>
                      <a:lnTo>
                        <a:pt x="44232" y="59782"/>
                      </a:lnTo>
                      <a:cubicBezTo>
                        <a:pt x="24919" y="66981"/>
                        <a:pt x="20292" y="73024"/>
                        <a:pt x="20292" y="90887"/>
                      </a:cubicBezTo>
                      <a:lnTo>
                        <a:pt x="20292" y="515689"/>
                      </a:lnTo>
                      <a:cubicBezTo>
                        <a:pt x="20292" y="533464"/>
                        <a:pt x="24919" y="539596"/>
                        <a:pt x="44054" y="546616"/>
                      </a:cubicBezTo>
                      <a:lnTo>
                        <a:pt x="140262" y="585098"/>
                      </a:lnTo>
                      <a:cubicBezTo>
                        <a:pt x="142576" y="585897"/>
                        <a:pt x="144890" y="586431"/>
                        <a:pt x="147115" y="586431"/>
                      </a:cubicBezTo>
                      <a:cubicBezTo>
                        <a:pt x="156015" y="586431"/>
                        <a:pt x="161978" y="578254"/>
                        <a:pt x="161978" y="566257"/>
                      </a:cubicBezTo>
                      <a:lnTo>
                        <a:pt x="161978" y="40319"/>
                      </a:lnTo>
                      <a:cubicBezTo>
                        <a:pt x="161978" y="28233"/>
                        <a:pt x="156015" y="20146"/>
                        <a:pt x="147115" y="20146"/>
                      </a:cubicBezTo>
                      <a:close/>
                      <a:moveTo>
                        <a:pt x="151669" y="315"/>
                      </a:moveTo>
                      <a:cubicBezTo>
                        <a:pt x="169354" y="2727"/>
                        <a:pt x="182270" y="18724"/>
                        <a:pt x="182270" y="40319"/>
                      </a:cubicBezTo>
                      <a:lnTo>
                        <a:pt x="182270" y="566257"/>
                      </a:lnTo>
                      <a:cubicBezTo>
                        <a:pt x="182270" y="589630"/>
                        <a:pt x="167496" y="606604"/>
                        <a:pt x="147115" y="606604"/>
                      </a:cubicBezTo>
                      <a:cubicBezTo>
                        <a:pt x="142487" y="606604"/>
                        <a:pt x="137681" y="605716"/>
                        <a:pt x="132964" y="603938"/>
                      </a:cubicBezTo>
                      <a:lnTo>
                        <a:pt x="36756" y="565457"/>
                      </a:lnTo>
                      <a:cubicBezTo>
                        <a:pt x="10057" y="555592"/>
                        <a:pt x="0" y="542084"/>
                        <a:pt x="0" y="515689"/>
                      </a:cubicBezTo>
                      <a:lnTo>
                        <a:pt x="0" y="90887"/>
                      </a:lnTo>
                      <a:cubicBezTo>
                        <a:pt x="0" y="64492"/>
                        <a:pt x="10057" y="50895"/>
                        <a:pt x="37023" y="40942"/>
                      </a:cubicBezTo>
                      <a:lnTo>
                        <a:pt x="132697" y="2727"/>
                      </a:lnTo>
                      <a:cubicBezTo>
                        <a:pt x="139350" y="217"/>
                        <a:pt x="145774" y="-489"/>
                        <a:pt x="151669" y="31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latin typeface="Calibri"/>
                    <a:ea typeface="微软雅黑"/>
                    <a:cs typeface="+mn-cs"/>
                  </a:endParaRPr>
                </a:p>
              </p:txBody>
            </p:sp>
          </p:grpSp>
        </p:grpSp>
        <p:cxnSp>
          <p:nvCxnSpPr>
            <p:cNvPr id="11" name="直接连接符 6"/>
            <p:cNvCxnSpPr>
              <a:stCxn id="31" idx="1"/>
            </p:cNvCxnSpPr>
            <p:nvPr/>
          </p:nvCxnSpPr>
          <p:spPr>
            <a:xfrm flipH="1">
              <a:off x="2913267" y="3617636"/>
              <a:ext cx="1054828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直接连接符 7"/>
            <p:cNvCxnSpPr>
              <a:stCxn id="32" idx="3"/>
            </p:cNvCxnSpPr>
            <p:nvPr/>
          </p:nvCxnSpPr>
          <p:spPr>
            <a:xfrm>
              <a:off x="8223905" y="3617636"/>
              <a:ext cx="1109849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iŝlîḍe"/>
            <p:cNvSpPr/>
            <p:nvPr/>
          </p:nvSpPr>
          <p:spPr bwMode="auto">
            <a:xfrm>
              <a:off x="1503951" y="1919384"/>
              <a:ext cx="3283202" cy="78971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67500" anchor="t" anchorCtr="0">
              <a:noAutofit/>
            </a:bodyPr>
            <a:lstStyle/>
            <a:p>
              <a:pPr marL="171450" lvl="1" indent="-171450" defTabSz="685800">
                <a:buClrTx/>
                <a:buFont typeface="+mj-lt"/>
                <a:buAutoNum type="romanLcPeriod"/>
              </a:pPr>
              <a:r>
                <a:rPr lang="en-US" sz="1050" kern="1200" dirty="0">
                  <a:latin typeface="Calibri"/>
                  <a:ea typeface="微软雅黑"/>
                  <a:cs typeface="+mn-cs"/>
                </a:rPr>
                <a:t>Green SIM / SAMADHAN Services</a:t>
              </a:r>
            </a:p>
            <a:p>
              <a:pPr marL="171450" lvl="1" indent="-171450" defTabSz="685800">
                <a:buClrTx/>
                <a:buFont typeface="+mj-lt"/>
                <a:buAutoNum type="romanLcPeriod"/>
              </a:pPr>
              <a:r>
                <a:rPr lang="en-US" sz="1050" kern="1200" dirty="0">
                  <a:latin typeface="Calibri"/>
                  <a:ea typeface="微软雅黑"/>
                  <a:cs typeface="+mn-cs"/>
                </a:rPr>
                <a:t>IFFCO Kisan Helpline</a:t>
              </a:r>
            </a:p>
            <a:p>
              <a:pPr marL="171450" lvl="1" indent="-171450" defTabSz="685800">
                <a:buClrTx/>
                <a:buFont typeface="+mj-lt"/>
                <a:buAutoNum type="romanLcPeriod"/>
              </a:pPr>
              <a:r>
                <a:rPr lang="en-US" sz="1050" kern="1200" dirty="0">
                  <a:latin typeface="Calibri"/>
                  <a:ea typeface="微软雅黑"/>
                  <a:cs typeface="+mn-cs"/>
                </a:rPr>
                <a:t>Kisan Call Centre</a:t>
              </a:r>
            </a:p>
          </p:txBody>
        </p:sp>
        <p:sp>
          <p:nvSpPr>
            <p:cNvPr id="15" name="íṧḷíde"/>
            <p:cNvSpPr/>
            <p:nvPr/>
          </p:nvSpPr>
          <p:spPr>
            <a:xfrm>
              <a:off x="968399" y="1631143"/>
              <a:ext cx="504056" cy="50405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buClrTx/>
              </a:pPr>
              <a:endParaRPr sz="1350" kern="1200">
                <a:solidFill>
                  <a:srgbClr val="FFFFFF"/>
                </a:solidFill>
                <a:latin typeface="Calibri"/>
                <a:ea typeface="微软雅黑"/>
              </a:endParaRPr>
            </a:p>
          </p:txBody>
        </p:sp>
        <p:sp>
          <p:nvSpPr>
            <p:cNvPr id="16" name="ïṧlidè"/>
            <p:cNvSpPr/>
            <p:nvPr/>
          </p:nvSpPr>
          <p:spPr bwMode="auto">
            <a:xfrm>
              <a:off x="1064898" y="1727738"/>
              <a:ext cx="311058" cy="310865"/>
            </a:xfrm>
            <a:custGeom>
              <a:avLst/>
              <a:gdLst>
                <a:gd name="connsiteX0" fmla="*/ 482620 w 607097"/>
                <a:gd name="connsiteY0" fmla="*/ 381169 h 606722"/>
                <a:gd name="connsiteX1" fmla="*/ 496768 w 607097"/>
                <a:gd name="connsiteY1" fmla="*/ 381169 h 606722"/>
                <a:gd name="connsiteX2" fmla="*/ 510916 w 607097"/>
                <a:gd name="connsiteY2" fmla="*/ 395381 h 606722"/>
                <a:gd name="connsiteX3" fmla="*/ 510916 w 607097"/>
                <a:gd name="connsiteY3" fmla="*/ 409505 h 606722"/>
                <a:gd name="connsiteX4" fmla="*/ 503887 w 607097"/>
                <a:gd name="connsiteY4" fmla="*/ 412525 h 606722"/>
                <a:gd name="connsiteX5" fmla="*/ 496768 w 607097"/>
                <a:gd name="connsiteY5" fmla="*/ 409505 h 606722"/>
                <a:gd name="connsiteX6" fmla="*/ 482620 w 607097"/>
                <a:gd name="connsiteY6" fmla="*/ 395381 h 606722"/>
                <a:gd name="connsiteX7" fmla="*/ 482620 w 607097"/>
                <a:gd name="connsiteY7" fmla="*/ 381169 h 606722"/>
                <a:gd name="connsiteX8" fmla="*/ 546398 w 607097"/>
                <a:gd name="connsiteY8" fmla="*/ 242745 h 606722"/>
                <a:gd name="connsiteX9" fmla="*/ 566606 w 607097"/>
                <a:gd name="connsiteY9" fmla="*/ 242745 h 606722"/>
                <a:gd name="connsiteX10" fmla="*/ 576754 w 607097"/>
                <a:gd name="connsiteY10" fmla="*/ 252756 h 606722"/>
                <a:gd name="connsiteX11" fmla="*/ 566606 w 607097"/>
                <a:gd name="connsiteY11" fmla="*/ 262856 h 606722"/>
                <a:gd name="connsiteX12" fmla="*/ 546398 w 607097"/>
                <a:gd name="connsiteY12" fmla="*/ 262856 h 606722"/>
                <a:gd name="connsiteX13" fmla="*/ 536249 w 607097"/>
                <a:gd name="connsiteY13" fmla="*/ 252756 h 606722"/>
                <a:gd name="connsiteX14" fmla="*/ 546398 w 607097"/>
                <a:gd name="connsiteY14" fmla="*/ 242745 h 606722"/>
                <a:gd name="connsiteX15" fmla="*/ 353968 w 607097"/>
                <a:gd name="connsiteY15" fmla="*/ 101120 h 606722"/>
                <a:gd name="connsiteX16" fmla="*/ 364118 w 607097"/>
                <a:gd name="connsiteY16" fmla="*/ 111251 h 606722"/>
                <a:gd name="connsiteX17" fmla="*/ 364118 w 607097"/>
                <a:gd name="connsiteY17" fmla="*/ 242683 h 606722"/>
                <a:gd name="connsiteX18" fmla="*/ 424838 w 607097"/>
                <a:gd name="connsiteY18" fmla="*/ 242683 h 606722"/>
                <a:gd name="connsiteX19" fmla="*/ 434988 w 607097"/>
                <a:gd name="connsiteY19" fmla="*/ 252725 h 606722"/>
                <a:gd name="connsiteX20" fmla="*/ 424838 w 607097"/>
                <a:gd name="connsiteY20" fmla="*/ 262856 h 606722"/>
                <a:gd name="connsiteX21" fmla="*/ 353968 w 607097"/>
                <a:gd name="connsiteY21" fmla="*/ 262856 h 606722"/>
                <a:gd name="connsiteX22" fmla="*/ 343818 w 607097"/>
                <a:gd name="connsiteY22" fmla="*/ 252725 h 606722"/>
                <a:gd name="connsiteX23" fmla="*/ 343818 w 607097"/>
                <a:gd name="connsiteY23" fmla="*/ 111251 h 606722"/>
                <a:gd name="connsiteX24" fmla="*/ 353968 w 607097"/>
                <a:gd name="connsiteY24" fmla="*/ 101120 h 606722"/>
                <a:gd name="connsiteX25" fmla="*/ 496768 w 607097"/>
                <a:gd name="connsiteY25" fmla="*/ 96101 h 606722"/>
                <a:gd name="connsiteX26" fmla="*/ 510916 w 607097"/>
                <a:gd name="connsiteY26" fmla="*/ 96101 h 606722"/>
                <a:gd name="connsiteX27" fmla="*/ 510916 w 607097"/>
                <a:gd name="connsiteY27" fmla="*/ 110217 h 606722"/>
                <a:gd name="connsiteX28" fmla="*/ 496768 w 607097"/>
                <a:gd name="connsiteY28" fmla="*/ 124334 h 606722"/>
                <a:gd name="connsiteX29" fmla="*/ 489650 w 607097"/>
                <a:gd name="connsiteY29" fmla="*/ 127441 h 606722"/>
                <a:gd name="connsiteX30" fmla="*/ 482620 w 607097"/>
                <a:gd name="connsiteY30" fmla="*/ 124334 h 606722"/>
                <a:gd name="connsiteX31" fmla="*/ 482620 w 607097"/>
                <a:gd name="connsiteY31" fmla="*/ 110217 h 606722"/>
                <a:gd name="connsiteX32" fmla="*/ 196955 w 607097"/>
                <a:gd name="connsiteY32" fmla="*/ 96101 h 606722"/>
                <a:gd name="connsiteX33" fmla="*/ 211110 w 607097"/>
                <a:gd name="connsiteY33" fmla="*/ 96101 h 606722"/>
                <a:gd name="connsiteX34" fmla="*/ 225355 w 607097"/>
                <a:gd name="connsiteY34" fmla="*/ 110217 h 606722"/>
                <a:gd name="connsiteX35" fmla="*/ 225355 w 607097"/>
                <a:gd name="connsiteY35" fmla="*/ 124334 h 606722"/>
                <a:gd name="connsiteX36" fmla="*/ 218233 w 607097"/>
                <a:gd name="connsiteY36" fmla="*/ 127441 h 606722"/>
                <a:gd name="connsiteX37" fmla="*/ 211110 w 607097"/>
                <a:gd name="connsiteY37" fmla="*/ 124334 h 606722"/>
                <a:gd name="connsiteX38" fmla="*/ 196955 w 607097"/>
                <a:gd name="connsiteY38" fmla="*/ 110217 h 606722"/>
                <a:gd name="connsiteX39" fmla="*/ 196955 w 607097"/>
                <a:gd name="connsiteY39" fmla="*/ 96101 h 606722"/>
                <a:gd name="connsiteX40" fmla="*/ 103963 w 607097"/>
                <a:gd name="connsiteY40" fmla="*/ 81761 h 606722"/>
                <a:gd name="connsiteX41" fmla="*/ 87598 w 607097"/>
                <a:gd name="connsiteY41" fmla="*/ 90026 h 606722"/>
                <a:gd name="connsiteX42" fmla="*/ 62322 w 607097"/>
                <a:gd name="connsiteY42" fmla="*/ 115266 h 606722"/>
                <a:gd name="connsiteX43" fmla="*/ 34998 w 607097"/>
                <a:gd name="connsiteY43" fmla="*/ 265902 h 606722"/>
                <a:gd name="connsiteX44" fmla="*/ 75494 w 607097"/>
                <a:gd name="connsiteY44" fmla="*/ 322602 h 606722"/>
                <a:gd name="connsiteX45" fmla="*/ 283044 w 607097"/>
                <a:gd name="connsiteY45" fmla="*/ 530826 h 606722"/>
                <a:gd name="connsiteX46" fmla="*/ 327634 w 607097"/>
                <a:gd name="connsiteY46" fmla="*/ 565219 h 606722"/>
                <a:gd name="connsiteX47" fmla="*/ 490684 w 607097"/>
                <a:gd name="connsiteY47" fmla="*/ 545046 h 606722"/>
                <a:gd name="connsiteX48" fmla="*/ 515960 w 607097"/>
                <a:gd name="connsiteY48" fmla="*/ 519717 h 606722"/>
                <a:gd name="connsiteX49" fmla="*/ 521033 w 607097"/>
                <a:gd name="connsiteY49" fmla="*/ 485324 h 606722"/>
                <a:gd name="connsiteX50" fmla="*/ 434969 w 607097"/>
                <a:gd name="connsiteY50" fmla="*/ 411561 h 606722"/>
                <a:gd name="connsiteX51" fmla="*/ 414321 w 607097"/>
                <a:gd name="connsiteY51" fmla="*/ 406318 h 606722"/>
                <a:gd name="connsiteX52" fmla="*/ 413698 w 607097"/>
                <a:gd name="connsiteY52" fmla="*/ 406496 h 606722"/>
                <a:gd name="connsiteX53" fmla="*/ 405599 w 607097"/>
                <a:gd name="connsiteY53" fmla="*/ 413605 h 606722"/>
                <a:gd name="connsiteX54" fmla="*/ 404620 w 607097"/>
                <a:gd name="connsiteY54" fmla="*/ 414583 h 606722"/>
                <a:gd name="connsiteX55" fmla="*/ 373202 w 607097"/>
                <a:gd name="connsiteY55" fmla="*/ 447910 h 606722"/>
                <a:gd name="connsiteX56" fmla="*/ 349528 w 607097"/>
                <a:gd name="connsiteY56" fmla="*/ 459552 h 606722"/>
                <a:gd name="connsiteX57" fmla="*/ 405599 w 607097"/>
                <a:gd name="connsiteY57" fmla="*/ 475282 h 606722"/>
                <a:gd name="connsiteX58" fmla="*/ 414677 w 607097"/>
                <a:gd name="connsiteY58" fmla="*/ 486391 h 606722"/>
                <a:gd name="connsiteX59" fmla="*/ 404620 w 607097"/>
                <a:gd name="connsiteY59" fmla="*/ 495456 h 606722"/>
                <a:gd name="connsiteX60" fmla="*/ 403552 w 607097"/>
                <a:gd name="connsiteY60" fmla="*/ 495456 h 606722"/>
                <a:gd name="connsiteX61" fmla="*/ 287138 w 607097"/>
                <a:gd name="connsiteY61" fmla="*/ 441866 h 606722"/>
                <a:gd name="connsiteX62" fmla="*/ 286426 w 607097"/>
                <a:gd name="connsiteY62" fmla="*/ 441067 h 606722"/>
                <a:gd name="connsiteX63" fmla="*/ 284112 w 607097"/>
                <a:gd name="connsiteY63" fmla="*/ 438845 h 606722"/>
                <a:gd name="connsiteX64" fmla="*/ 176777 w 607097"/>
                <a:gd name="connsiteY64" fmla="*/ 331666 h 606722"/>
                <a:gd name="connsiteX65" fmla="*/ 111895 w 607097"/>
                <a:gd name="connsiteY65" fmla="*/ 213379 h 606722"/>
                <a:gd name="connsiteX66" fmla="*/ 121062 w 607097"/>
                <a:gd name="connsiteY66" fmla="*/ 202270 h 606722"/>
                <a:gd name="connsiteX67" fmla="*/ 132188 w 607097"/>
                <a:gd name="connsiteY67" fmla="*/ 211335 h 606722"/>
                <a:gd name="connsiteX68" fmla="*/ 146428 w 607097"/>
                <a:gd name="connsiteY68" fmla="*/ 259325 h 606722"/>
                <a:gd name="connsiteX69" fmla="*/ 158532 w 607097"/>
                <a:gd name="connsiteY69" fmla="*/ 233553 h 606722"/>
                <a:gd name="connsiteX70" fmla="*/ 191907 w 607097"/>
                <a:gd name="connsiteY70" fmla="*/ 202270 h 606722"/>
                <a:gd name="connsiteX71" fmla="*/ 192975 w 607097"/>
                <a:gd name="connsiteY71" fmla="*/ 201204 h 606722"/>
                <a:gd name="connsiteX72" fmla="*/ 200006 w 607097"/>
                <a:gd name="connsiteY72" fmla="*/ 193117 h 606722"/>
                <a:gd name="connsiteX73" fmla="*/ 194933 w 607097"/>
                <a:gd name="connsiteY73" fmla="*/ 170899 h 606722"/>
                <a:gd name="connsiteX74" fmla="*/ 121062 w 607097"/>
                <a:gd name="connsiteY74" fmla="*/ 84961 h 606722"/>
                <a:gd name="connsiteX75" fmla="*/ 103963 w 607097"/>
                <a:gd name="connsiteY75" fmla="*/ 81761 h 606722"/>
                <a:gd name="connsiteX76" fmla="*/ 353980 w 607097"/>
                <a:gd name="connsiteY76" fmla="*/ 30273 h 606722"/>
                <a:gd name="connsiteX77" fmla="*/ 364141 w 607097"/>
                <a:gd name="connsiteY77" fmla="*/ 40422 h 606722"/>
                <a:gd name="connsiteX78" fmla="*/ 364141 w 607097"/>
                <a:gd name="connsiteY78" fmla="*/ 60719 h 606722"/>
                <a:gd name="connsiteX79" fmla="*/ 353980 w 607097"/>
                <a:gd name="connsiteY79" fmla="*/ 70778 h 606722"/>
                <a:gd name="connsiteX80" fmla="*/ 343818 w 607097"/>
                <a:gd name="connsiteY80" fmla="*/ 60719 h 606722"/>
                <a:gd name="connsiteX81" fmla="*/ 343818 w 607097"/>
                <a:gd name="connsiteY81" fmla="*/ 40422 h 606722"/>
                <a:gd name="connsiteX82" fmla="*/ 353980 w 607097"/>
                <a:gd name="connsiteY82" fmla="*/ 30273 h 606722"/>
                <a:gd name="connsiteX83" fmla="*/ 353978 w 607097"/>
                <a:gd name="connsiteY83" fmla="*/ 20263 h 606722"/>
                <a:gd name="connsiteX84" fmla="*/ 174819 w 607097"/>
                <a:gd name="connsiteY84" fmla="*/ 104957 h 606722"/>
                <a:gd name="connsiteX85" fmla="*/ 214246 w 607097"/>
                <a:gd name="connsiteY85" fmla="*/ 160768 h 606722"/>
                <a:gd name="connsiteX86" fmla="*/ 221278 w 607097"/>
                <a:gd name="connsiteY86" fmla="*/ 198182 h 606722"/>
                <a:gd name="connsiteX87" fmla="*/ 215938 w 607097"/>
                <a:gd name="connsiteY87" fmla="*/ 209025 h 606722"/>
                <a:gd name="connsiteX88" fmla="*/ 210152 w 607097"/>
                <a:gd name="connsiteY88" fmla="*/ 215157 h 606722"/>
                <a:gd name="connsiteX89" fmla="*/ 206147 w 607097"/>
                <a:gd name="connsiteY89" fmla="*/ 218445 h 606722"/>
                <a:gd name="connsiteX90" fmla="*/ 176777 w 607097"/>
                <a:gd name="connsiteY90" fmla="*/ 244662 h 606722"/>
                <a:gd name="connsiteX91" fmla="*/ 182829 w 607097"/>
                <a:gd name="connsiteY91" fmla="*/ 308382 h 606722"/>
                <a:gd name="connsiteX92" fmla="*/ 189504 w 607097"/>
                <a:gd name="connsiteY92" fmla="*/ 315136 h 606722"/>
                <a:gd name="connsiteX93" fmla="*/ 189949 w 607097"/>
                <a:gd name="connsiteY93" fmla="*/ 315492 h 606722"/>
                <a:gd name="connsiteX94" fmla="*/ 191640 w 607097"/>
                <a:gd name="connsiteY94" fmla="*/ 317269 h 606722"/>
                <a:gd name="connsiteX95" fmla="*/ 298263 w 607097"/>
                <a:gd name="connsiteY95" fmla="*/ 424714 h 606722"/>
                <a:gd name="connsiteX96" fmla="*/ 362077 w 607097"/>
                <a:gd name="connsiteY96" fmla="*/ 430758 h 606722"/>
                <a:gd name="connsiteX97" fmla="*/ 388422 w 607097"/>
                <a:gd name="connsiteY97" fmla="*/ 401430 h 606722"/>
                <a:gd name="connsiteX98" fmla="*/ 408625 w 607097"/>
                <a:gd name="connsiteY98" fmla="*/ 386233 h 606722"/>
                <a:gd name="connsiteX99" fmla="*/ 419661 w 607097"/>
                <a:gd name="connsiteY99" fmla="*/ 384900 h 606722"/>
                <a:gd name="connsiteX100" fmla="*/ 446094 w 607097"/>
                <a:gd name="connsiteY100" fmla="*/ 392365 h 606722"/>
                <a:gd name="connsiteX101" fmla="*/ 501987 w 607097"/>
                <a:gd name="connsiteY101" fmla="*/ 431646 h 606722"/>
                <a:gd name="connsiteX102" fmla="*/ 586894 w 607097"/>
                <a:gd name="connsiteY102" fmla="*/ 252749 h 606722"/>
                <a:gd name="connsiteX103" fmla="*/ 353978 w 607097"/>
                <a:gd name="connsiteY103" fmla="*/ 20263 h 606722"/>
                <a:gd name="connsiteX104" fmla="*/ 353978 w 607097"/>
                <a:gd name="connsiteY104" fmla="*/ 0 h 606722"/>
                <a:gd name="connsiteX105" fmla="*/ 607097 w 607097"/>
                <a:gd name="connsiteY105" fmla="*/ 252749 h 606722"/>
                <a:gd name="connsiteX106" fmla="*/ 517384 w 607097"/>
                <a:gd name="connsiteY106" fmla="*/ 445421 h 606722"/>
                <a:gd name="connsiteX107" fmla="*/ 540257 w 607097"/>
                <a:gd name="connsiteY107" fmla="*/ 474215 h 606722"/>
                <a:gd name="connsiteX108" fmla="*/ 531179 w 607097"/>
                <a:gd name="connsiteY108" fmla="*/ 532870 h 606722"/>
                <a:gd name="connsiteX109" fmla="*/ 505814 w 607097"/>
                <a:gd name="connsiteY109" fmla="*/ 559176 h 606722"/>
                <a:gd name="connsiteX110" fmla="*/ 401505 w 607097"/>
                <a:gd name="connsiteY110" fmla="*/ 606722 h 606722"/>
                <a:gd name="connsiteX111" fmla="*/ 318556 w 607097"/>
                <a:gd name="connsiteY111" fmla="*/ 582460 h 606722"/>
                <a:gd name="connsiteX112" fmla="*/ 268893 w 607097"/>
                <a:gd name="connsiteY112" fmla="*/ 543979 h 606722"/>
                <a:gd name="connsiteX113" fmla="*/ 61343 w 607097"/>
                <a:gd name="connsiteY113" fmla="*/ 336732 h 606722"/>
                <a:gd name="connsiteX114" fmla="*/ 16753 w 607097"/>
                <a:gd name="connsiteY114" fmla="*/ 275056 h 606722"/>
                <a:gd name="connsiteX115" fmla="*/ 48171 w 607097"/>
                <a:gd name="connsiteY115" fmla="*/ 101135 h 606722"/>
                <a:gd name="connsiteX116" fmla="*/ 73447 w 607097"/>
                <a:gd name="connsiteY116" fmla="*/ 75807 h 606722"/>
                <a:gd name="connsiteX117" fmla="*/ 132188 w 607097"/>
                <a:gd name="connsiteY117" fmla="*/ 66742 h 606722"/>
                <a:gd name="connsiteX118" fmla="*/ 160757 w 607097"/>
                <a:gd name="connsiteY118" fmla="*/ 89315 h 606722"/>
                <a:gd name="connsiteX119" fmla="*/ 353978 w 607097"/>
                <a:gd name="connsiteY119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607097" h="606722">
                  <a:moveTo>
                    <a:pt x="482620" y="381169"/>
                  </a:moveTo>
                  <a:cubicBezTo>
                    <a:pt x="486624" y="377172"/>
                    <a:pt x="492675" y="377172"/>
                    <a:pt x="496768" y="381169"/>
                  </a:cubicBezTo>
                  <a:lnTo>
                    <a:pt x="510916" y="395381"/>
                  </a:lnTo>
                  <a:cubicBezTo>
                    <a:pt x="515009" y="399379"/>
                    <a:pt x="515009" y="405419"/>
                    <a:pt x="510916" y="409505"/>
                  </a:cubicBezTo>
                  <a:cubicBezTo>
                    <a:pt x="509937" y="412525"/>
                    <a:pt x="506912" y="412525"/>
                    <a:pt x="503887" y="412525"/>
                  </a:cubicBezTo>
                  <a:cubicBezTo>
                    <a:pt x="500861" y="412525"/>
                    <a:pt x="498815" y="411548"/>
                    <a:pt x="496768" y="409505"/>
                  </a:cubicBezTo>
                  <a:lnTo>
                    <a:pt x="482620" y="395381"/>
                  </a:lnTo>
                  <a:cubicBezTo>
                    <a:pt x="478527" y="391295"/>
                    <a:pt x="478527" y="385255"/>
                    <a:pt x="482620" y="381169"/>
                  </a:cubicBezTo>
                  <a:close/>
                  <a:moveTo>
                    <a:pt x="546398" y="242745"/>
                  </a:moveTo>
                  <a:lnTo>
                    <a:pt x="566606" y="242745"/>
                  </a:lnTo>
                  <a:cubicBezTo>
                    <a:pt x="572659" y="242745"/>
                    <a:pt x="576754" y="246732"/>
                    <a:pt x="576754" y="252756"/>
                  </a:cubicBezTo>
                  <a:cubicBezTo>
                    <a:pt x="576754" y="258869"/>
                    <a:pt x="572659" y="262856"/>
                    <a:pt x="566606" y="262856"/>
                  </a:cubicBezTo>
                  <a:lnTo>
                    <a:pt x="546398" y="262856"/>
                  </a:lnTo>
                  <a:cubicBezTo>
                    <a:pt x="540255" y="262856"/>
                    <a:pt x="536249" y="258869"/>
                    <a:pt x="536249" y="252756"/>
                  </a:cubicBezTo>
                  <a:cubicBezTo>
                    <a:pt x="536249" y="246732"/>
                    <a:pt x="540255" y="242745"/>
                    <a:pt x="546398" y="242745"/>
                  </a:cubicBezTo>
                  <a:close/>
                  <a:moveTo>
                    <a:pt x="353968" y="101120"/>
                  </a:moveTo>
                  <a:cubicBezTo>
                    <a:pt x="360022" y="101120"/>
                    <a:pt x="364118" y="105119"/>
                    <a:pt x="364118" y="111251"/>
                  </a:cubicBezTo>
                  <a:lnTo>
                    <a:pt x="364118" y="242683"/>
                  </a:lnTo>
                  <a:lnTo>
                    <a:pt x="424838" y="242683"/>
                  </a:lnTo>
                  <a:cubicBezTo>
                    <a:pt x="430893" y="242683"/>
                    <a:pt x="434988" y="246682"/>
                    <a:pt x="434988" y="252725"/>
                  </a:cubicBezTo>
                  <a:cubicBezTo>
                    <a:pt x="434988" y="258857"/>
                    <a:pt x="430893" y="262856"/>
                    <a:pt x="424838" y="262856"/>
                  </a:cubicBezTo>
                  <a:lnTo>
                    <a:pt x="353968" y="262856"/>
                  </a:lnTo>
                  <a:cubicBezTo>
                    <a:pt x="347825" y="262856"/>
                    <a:pt x="343818" y="258857"/>
                    <a:pt x="343818" y="252725"/>
                  </a:cubicBezTo>
                  <a:lnTo>
                    <a:pt x="343818" y="111251"/>
                  </a:lnTo>
                  <a:cubicBezTo>
                    <a:pt x="343818" y="105119"/>
                    <a:pt x="347825" y="101120"/>
                    <a:pt x="353968" y="101120"/>
                  </a:cubicBezTo>
                  <a:close/>
                  <a:moveTo>
                    <a:pt x="496768" y="96101"/>
                  </a:moveTo>
                  <a:cubicBezTo>
                    <a:pt x="500861" y="92017"/>
                    <a:pt x="506912" y="92017"/>
                    <a:pt x="510916" y="96101"/>
                  </a:cubicBezTo>
                  <a:cubicBezTo>
                    <a:pt x="515009" y="100096"/>
                    <a:pt x="515009" y="106222"/>
                    <a:pt x="510916" y="110217"/>
                  </a:cubicBezTo>
                  <a:lnTo>
                    <a:pt x="496768" y="124334"/>
                  </a:lnTo>
                  <a:cubicBezTo>
                    <a:pt x="494722" y="126376"/>
                    <a:pt x="492675" y="127441"/>
                    <a:pt x="489650" y="127441"/>
                  </a:cubicBezTo>
                  <a:cubicBezTo>
                    <a:pt x="486624" y="127441"/>
                    <a:pt x="484578" y="126376"/>
                    <a:pt x="482620" y="124334"/>
                  </a:cubicBezTo>
                  <a:cubicBezTo>
                    <a:pt x="478527" y="120338"/>
                    <a:pt x="478527" y="114301"/>
                    <a:pt x="482620" y="110217"/>
                  </a:cubicBezTo>
                  <a:close/>
                  <a:moveTo>
                    <a:pt x="196955" y="96101"/>
                  </a:moveTo>
                  <a:cubicBezTo>
                    <a:pt x="201050" y="92017"/>
                    <a:pt x="207104" y="92017"/>
                    <a:pt x="211110" y="96101"/>
                  </a:cubicBezTo>
                  <a:lnTo>
                    <a:pt x="225355" y="110217"/>
                  </a:lnTo>
                  <a:cubicBezTo>
                    <a:pt x="229361" y="114301"/>
                    <a:pt x="229361" y="120338"/>
                    <a:pt x="225355" y="124334"/>
                  </a:cubicBezTo>
                  <a:cubicBezTo>
                    <a:pt x="223307" y="126376"/>
                    <a:pt x="220280" y="127441"/>
                    <a:pt x="218233" y="127441"/>
                  </a:cubicBezTo>
                  <a:cubicBezTo>
                    <a:pt x="215206" y="127441"/>
                    <a:pt x="213158" y="126376"/>
                    <a:pt x="211110" y="124334"/>
                  </a:cubicBezTo>
                  <a:lnTo>
                    <a:pt x="196955" y="110217"/>
                  </a:lnTo>
                  <a:cubicBezTo>
                    <a:pt x="192949" y="106222"/>
                    <a:pt x="192949" y="100096"/>
                    <a:pt x="196955" y="96101"/>
                  </a:cubicBezTo>
                  <a:close/>
                  <a:moveTo>
                    <a:pt x="103963" y="81761"/>
                  </a:moveTo>
                  <a:cubicBezTo>
                    <a:pt x="98011" y="82650"/>
                    <a:pt x="92182" y="85449"/>
                    <a:pt x="87598" y="90026"/>
                  </a:cubicBezTo>
                  <a:lnTo>
                    <a:pt x="62322" y="115266"/>
                  </a:lnTo>
                  <a:cubicBezTo>
                    <a:pt x="17732" y="159790"/>
                    <a:pt x="8654" y="209291"/>
                    <a:pt x="34998" y="265902"/>
                  </a:cubicBezTo>
                  <a:cubicBezTo>
                    <a:pt x="44077" y="285187"/>
                    <a:pt x="57249" y="304383"/>
                    <a:pt x="75494" y="322602"/>
                  </a:cubicBezTo>
                  <a:lnTo>
                    <a:pt x="283044" y="530826"/>
                  </a:lnTo>
                  <a:cubicBezTo>
                    <a:pt x="297284" y="545046"/>
                    <a:pt x="312415" y="557132"/>
                    <a:pt x="327634" y="565219"/>
                  </a:cubicBezTo>
                  <a:cubicBezTo>
                    <a:pt x="389401" y="599612"/>
                    <a:pt x="443068" y="592503"/>
                    <a:pt x="490684" y="545046"/>
                  </a:cubicBezTo>
                  <a:lnTo>
                    <a:pt x="515960" y="519717"/>
                  </a:lnTo>
                  <a:cubicBezTo>
                    <a:pt x="525127" y="510653"/>
                    <a:pt x="527085" y="496433"/>
                    <a:pt x="521033" y="485324"/>
                  </a:cubicBezTo>
                  <a:cubicBezTo>
                    <a:pt x="503856" y="451998"/>
                    <a:pt x="434969" y="411561"/>
                    <a:pt x="434969" y="411561"/>
                  </a:cubicBezTo>
                  <a:cubicBezTo>
                    <a:pt x="427582" y="407829"/>
                    <a:pt x="420195" y="405874"/>
                    <a:pt x="414321" y="406318"/>
                  </a:cubicBezTo>
                  <a:cubicBezTo>
                    <a:pt x="414143" y="406318"/>
                    <a:pt x="413876" y="406407"/>
                    <a:pt x="413698" y="406496"/>
                  </a:cubicBezTo>
                  <a:cubicBezTo>
                    <a:pt x="409604" y="407473"/>
                    <a:pt x="407646" y="409517"/>
                    <a:pt x="405599" y="413605"/>
                  </a:cubicBezTo>
                  <a:lnTo>
                    <a:pt x="404620" y="414583"/>
                  </a:lnTo>
                  <a:cubicBezTo>
                    <a:pt x="397500" y="423648"/>
                    <a:pt x="380323" y="443910"/>
                    <a:pt x="373202" y="447910"/>
                  </a:cubicBezTo>
                  <a:cubicBezTo>
                    <a:pt x="365548" y="453242"/>
                    <a:pt x="357538" y="457152"/>
                    <a:pt x="349528" y="459552"/>
                  </a:cubicBezTo>
                  <a:cubicBezTo>
                    <a:pt x="365281" y="466839"/>
                    <a:pt x="384328" y="473149"/>
                    <a:pt x="405599" y="475282"/>
                  </a:cubicBezTo>
                  <a:cubicBezTo>
                    <a:pt x="410672" y="476259"/>
                    <a:pt x="414677" y="480259"/>
                    <a:pt x="414677" y="486391"/>
                  </a:cubicBezTo>
                  <a:cubicBezTo>
                    <a:pt x="413698" y="491456"/>
                    <a:pt x="409604" y="495456"/>
                    <a:pt x="404620" y="495456"/>
                  </a:cubicBezTo>
                  <a:lnTo>
                    <a:pt x="403552" y="495456"/>
                  </a:lnTo>
                  <a:cubicBezTo>
                    <a:pt x="333686" y="488346"/>
                    <a:pt x="288117" y="443910"/>
                    <a:pt x="287138" y="441866"/>
                  </a:cubicBezTo>
                  <a:cubicBezTo>
                    <a:pt x="286871" y="441600"/>
                    <a:pt x="286604" y="441333"/>
                    <a:pt x="286426" y="441067"/>
                  </a:cubicBezTo>
                  <a:cubicBezTo>
                    <a:pt x="285625" y="440356"/>
                    <a:pt x="284824" y="439645"/>
                    <a:pt x="284112" y="438845"/>
                  </a:cubicBezTo>
                  <a:lnTo>
                    <a:pt x="176777" y="331666"/>
                  </a:lnTo>
                  <a:cubicBezTo>
                    <a:pt x="174730" y="329622"/>
                    <a:pt x="119015" y="284120"/>
                    <a:pt x="111895" y="213379"/>
                  </a:cubicBezTo>
                  <a:cubicBezTo>
                    <a:pt x="110916" y="208314"/>
                    <a:pt x="115010" y="203248"/>
                    <a:pt x="121062" y="202270"/>
                  </a:cubicBezTo>
                  <a:cubicBezTo>
                    <a:pt x="127115" y="201204"/>
                    <a:pt x="131209" y="205292"/>
                    <a:pt x="132188" y="211335"/>
                  </a:cubicBezTo>
                  <a:cubicBezTo>
                    <a:pt x="133968" y="229109"/>
                    <a:pt x="139486" y="245284"/>
                    <a:pt x="146428" y="259325"/>
                  </a:cubicBezTo>
                  <a:cubicBezTo>
                    <a:pt x="148653" y="250794"/>
                    <a:pt x="152658" y="242262"/>
                    <a:pt x="158532" y="233553"/>
                  </a:cubicBezTo>
                  <a:cubicBezTo>
                    <a:pt x="162537" y="227510"/>
                    <a:pt x="183808" y="210358"/>
                    <a:pt x="191907" y="202270"/>
                  </a:cubicBezTo>
                  <a:lnTo>
                    <a:pt x="192975" y="201204"/>
                  </a:lnTo>
                  <a:cubicBezTo>
                    <a:pt x="196980" y="199160"/>
                    <a:pt x="199027" y="196138"/>
                    <a:pt x="200006" y="193117"/>
                  </a:cubicBezTo>
                  <a:cubicBezTo>
                    <a:pt x="202053" y="187073"/>
                    <a:pt x="200006" y="178986"/>
                    <a:pt x="194933" y="170899"/>
                  </a:cubicBezTo>
                  <a:cubicBezTo>
                    <a:pt x="194933" y="169832"/>
                    <a:pt x="154438" y="102113"/>
                    <a:pt x="121062" y="84961"/>
                  </a:cubicBezTo>
                  <a:cubicBezTo>
                    <a:pt x="115989" y="81895"/>
                    <a:pt x="109915" y="80873"/>
                    <a:pt x="103963" y="81761"/>
                  </a:cubicBezTo>
                  <a:close/>
                  <a:moveTo>
                    <a:pt x="353980" y="30273"/>
                  </a:moveTo>
                  <a:cubicBezTo>
                    <a:pt x="360041" y="30273"/>
                    <a:pt x="364141" y="34368"/>
                    <a:pt x="364141" y="40422"/>
                  </a:cubicBezTo>
                  <a:lnTo>
                    <a:pt x="364141" y="60719"/>
                  </a:lnTo>
                  <a:cubicBezTo>
                    <a:pt x="364141" y="66772"/>
                    <a:pt x="360041" y="70778"/>
                    <a:pt x="353980" y="70778"/>
                  </a:cubicBezTo>
                  <a:cubicBezTo>
                    <a:pt x="347829" y="70778"/>
                    <a:pt x="343818" y="66772"/>
                    <a:pt x="343818" y="60719"/>
                  </a:cubicBezTo>
                  <a:lnTo>
                    <a:pt x="343818" y="40422"/>
                  </a:lnTo>
                  <a:cubicBezTo>
                    <a:pt x="343818" y="34368"/>
                    <a:pt x="347829" y="30273"/>
                    <a:pt x="353980" y="30273"/>
                  </a:cubicBezTo>
                  <a:close/>
                  <a:moveTo>
                    <a:pt x="353978" y="20263"/>
                  </a:moveTo>
                  <a:cubicBezTo>
                    <a:pt x="284112" y="20263"/>
                    <a:pt x="219409" y="50479"/>
                    <a:pt x="174819" y="104957"/>
                  </a:cubicBezTo>
                  <a:cubicBezTo>
                    <a:pt x="196446" y="130818"/>
                    <a:pt x="212911" y="158901"/>
                    <a:pt x="214246" y="160768"/>
                  </a:cubicBezTo>
                  <a:cubicBezTo>
                    <a:pt x="221278" y="173920"/>
                    <a:pt x="224304" y="187073"/>
                    <a:pt x="221278" y="198182"/>
                  </a:cubicBezTo>
                  <a:cubicBezTo>
                    <a:pt x="220299" y="202093"/>
                    <a:pt x="218430" y="205736"/>
                    <a:pt x="215938" y="209025"/>
                  </a:cubicBezTo>
                  <a:cubicBezTo>
                    <a:pt x="214336" y="211335"/>
                    <a:pt x="212466" y="213379"/>
                    <a:pt x="210152" y="215157"/>
                  </a:cubicBezTo>
                  <a:cubicBezTo>
                    <a:pt x="208906" y="216312"/>
                    <a:pt x="207482" y="217378"/>
                    <a:pt x="206147" y="218445"/>
                  </a:cubicBezTo>
                  <a:cubicBezTo>
                    <a:pt x="193954" y="228487"/>
                    <a:pt x="179803" y="241640"/>
                    <a:pt x="176777" y="244662"/>
                  </a:cubicBezTo>
                  <a:cubicBezTo>
                    <a:pt x="160579" y="269012"/>
                    <a:pt x="162537" y="287142"/>
                    <a:pt x="182829" y="308382"/>
                  </a:cubicBezTo>
                  <a:lnTo>
                    <a:pt x="189504" y="315136"/>
                  </a:lnTo>
                  <a:cubicBezTo>
                    <a:pt x="189771" y="315403"/>
                    <a:pt x="189949" y="315492"/>
                    <a:pt x="189949" y="315492"/>
                  </a:cubicBezTo>
                  <a:cubicBezTo>
                    <a:pt x="190572" y="316025"/>
                    <a:pt x="191195" y="316647"/>
                    <a:pt x="191640" y="317269"/>
                  </a:cubicBezTo>
                  <a:lnTo>
                    <a:pt x="298263" y="424714"/>
                  </a:lnTo>
                  <a:cubicBezTo>
                    <a:pt x="318556" y="444888"/>
                    <a:pt x="337780" y="446932"/>
                    <a:pt x="362077" y="430758"/>
                  </a:cubicBezTo>
                  <a:cubicBezTo>
                    <a:pt x="365103" y="428713"/>
                    <a:pt x="378275" y="414583"/>
                    <a:pt x="388422" y="401430"/>
                  </a:cubicBezTo>
                  <a:cubicBezTo>
                    <a:pt x="393406" y="393343"/>
                    <a:pt x="400526" y="388277"/>
                    <a:pt x="408625" y="386233"/>
                  </a:cubicBezTo>
                  <a:cubicBezTo>
                    <a:pt x="412096" y="385344"/>
                    <a:pt x="415834" y="384900"/>
                    <a:pt x="419661" y="384900"/>
                  </a:cubicBezTo>
                  <a:cubicBezTo>
                    <a:pt x="428294" y="384989"/>
                    <a:pt x="437728" y="387477"/>
                    <a:pt x="446094" y="392365"/>
                  </a:cubicBezTo>
                  <a:cubicBezTo>
                    <a:pt x="447963" y="393609"/>
                    <a:pt x="476088" y="410051"/>
                    <a:pt x="501987" y="431646"/>
                  </a:cubicBezTo>
                  <a:cubicBezTo>
                    <a:pt x="556545" y="387122"/>
                    <a:pt x="586894" y="322513"/>
                    <a:pt x="586894" y="252749"/>
                  </a:cubicBezTo>
                  <a:cubicBezTo>
                    <a:pt x="586894" y="124330"/>
                    <a:pt x="482585" y="20263"/>
                    <a:pt x="353978" y="20263"/>
                  </a:cubicBezTo>
                  <a:close/>
                  <a:moveTo>
                    <a:pt x="353978" y="0"/>
                  </a:moveTo>
                  <a:cubicBezTo>
                    <a:pt x="493710" y="0"/>
                    <a:pt x="607097" y="113222"/>
                    <a:pt x="607097" y="252749"/>
                  </a:cubicBezTo>
                  <a:cubicBezTo>
                    <a:pt x="607097" y="327578"/>
                    <a:pt x="574345" y="397786"/>
                    <a:pt x="517384" y="445421"/>
                  </a:cubicBezTo>
                  <a:cubicBezTo>
                    <a:pt x="526907" y="454753"/>
                    <a:pt x="535184" y="464617"/>
                    <a:pt x="540257" y="474215"/>
                  </a:cubicBezTo>
                  <a:cubicBezTo>
                    <a:pt x="550403" y="493412"/>
                    <a:pt x="547377" y="517673"/>
                    <a:pt x="531179" y="532870"/>
                  </a:cubicBezTo>
                  <a:lnTo>
                    <a:pt x="505814" y="559176"/>
                  </a:lnTo>
                  <a:cubicBezTo>
                    <a:pt x="474486" y="590548"/>
                    <a:pt x="438974" y="606722"/>
                    <a:pt x="401505" y="606722"/>
                  </a:cubicBezTo>
                  <a:cubicBezTo>
                    <a:pt x="375249" y="606722"/>
                    <a:pt x="346858" y="598635"/>
                    <a:pt x="318556" y="582460"/>
                  </a:cubicBezTo>
                  <a:cubicBezTo>
                    <a:pt x="301289" y="573307"/>
                    <a:pt x="285091" y="560154"/>
                    <a:pt x="268893" y="543979"/>
                  </a:cubicBezTo>
                  <a:lnTo>
                    <a:pt x="61343" y="336732"/>
                  </a:lnTo>
                  <a:cubicBezTo>
                    <a:pt x="42030" y="317536"/>
                    <a:pt x="26899" y="296296"/>
                    <a:pt x="16753" y="275056"/>
                  </a:cubicBezTo>
                  <a:cubicBezTo>
                    <a:pt x="-13596" y="210358"/>
                    <a:pt x="-2471" y="151703"/>
                    <a:pt x="48171" y="101135"/>
                  </a:cubicBezTo>
                  <a:lnTo>
                    <a:pt x="73447" y="75807"/>
                  </a:lnTo>
                  <a:cubicBezTo>
                    <a:pt x="88666" y="60699"/>
                    <a:pt x="112963" y="56611"/>
                    <a:pt x="132188" y="66742"/>
                  </a:cubicBezTo>
                  <a:cubicBezTo>
                    <a:pt x="141711" y="71719"/>
                    <a:pt x="151412" y="79895"/>
                    <a:pt x="160757" y="89315"/>
                  </a:cubicBezTo>
                  <a:cubicBezTo>
                    <a:pt x="209173" y="32971"/>
                    <a:pt x="278772" y="0"/>
                    <a:pt x="35397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 defTabSz="685800">
                <a:buClrTx/>
              </a:pPr>
              <a:endParaRPr sz="1350" kern="1200">
                <a:latin typeface="Calibri"/>
                <a:ea typeface="微软雅黑"/>
                <a:cs typeface="+mn-cs"/>
              </a:endParaRPr>
            </a:p>
          </p:txBody>
        </p:sp>
        <p:grpSp>
          <p:nvGrpSpPr>
            <p:cNvPr id="19" name="íṥḻîḓè"/>
            <p:cNvGrpSpPr/>
            <p:nvPr/>
          </p:nvGrpSpPr>
          <p:grpSpPr>
            <a:xfrm>
              <a:off x="8246944" y="4965112"/>
              <a:ext cx="504056" cy="504056"/>
              <a:chOff x="8246944" y="4890007"/>
              <a:chExt cx="504056" cy="504056"/>
            </a:xfrm>
          </p:grpSpPr>
          <p:sp>
            <p:nvSpPr>
              <p:cNvPr id="29" name="îṣļîďè"/>
              <p:cNvSpPr/>
              <p:nvPr/>
            </p:nvSpPr>
            <p:spPr>
              <a:xfrm>
                <a:off x="8246944" y="4890007"/>
                <a:ext cx="504056" cy="50405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30" name="ïs1ïḑê"/>
              <p:cNvSpPr/>
              <p:nvPr/>
            </p:nvSpPr>
            <p:spPr bwMode="auto">
              <a:xfrm>
                <a:off x="8343443" y="4986745"/>
                <a:ext cx="311058" cy="310581"/>
              </a:xfrm>
              <a:custGeom>
                <a:avLst/>
                <a:gdLst>
                  <a:gd name="connsiteX0" fmla="*/ 325000 h 606722"/>
                  <a:gd name="connsiteY0" fmla="*/ 325000 h 606722"/>
                  <a:gd name="connsiteX1" fmla="*/ 325000 h 606722"/>
                  <a:gd name="connsiteY1" fmla="*/ 325000 h 606722"/>
                  <a:gd name="connsiteX2" fmla="*/ 325000 h 606722"/>
                  <a:gd name="connsiteY2" fmla="*/ 325000 h 606722"/>
                  <a:gd name="connsiteX3" fmla="*/ 325000 h 606722"/>
                  <a:gd name="connsiteY3" fmla="*/ 325000 h 606722"/>
                  <a:gd name="connsiteX4" fmla="*/ 325000 h 606722"/>
                  <a:gd name="connsiteY4" fmla="*/ 325000 h 606722"/>
                  <a:gd name="connsiteX5" fmla="*/ 325000 h 606722"/>
                  <a:gd name="connsiteY5" fmla="*/ 325000 h 606722"/>
                  <a:gd name="connsiteX6" fmla="*/ 325000 h 606722"/>
                  <a:gd name="connsiteY6" fmla="*/ 325000 h 606722"/>
                  <a:gd name="connsiteX7" fmla="*/ 325000 h 606722"/>
                  <a:gd name="connsiteY7" fmla="*/ 325000 h 606722"/>
                  <a:gd name="connsiteX8" fmla="*/ 325000 h 606722"/>
                  <a:gd name="connsiteY8" fmla="*/ 325000 h 606722"/>
                  <a:gd name="connsiteX9" fmla="*/ 325000 h 606722"/>
                  <a:gd name="connsiteY9" fmla="*/ 325000 h 606722"/>
                  <a:gd name="connsiteX10" fmla="*/ 325000 h 606722"/>
                  <a:gd name="connsiteY10" fmla="*/ 325000 h 606722"/>
                  <a:gd name="connsiteX11" fmla="*/ 325000 h 606722"/>
                  <a:gd name="connsiteY11" fmla="*/ 325000 h 606722"/>
                  <a:gd name="connsiteX12" fmla="*/ 325000 h 606722"/>
                  <a:gd name="connsiteY12" fmla="*/ 325000 h 606722"/>
                  <a:gd name="connsiteX13" fmla="*/ 325000 h 606722"/>
                  <a:gd name="connsiteY13" fmla="*/ 325000 h 606722"/>
                  <a:gd name="connsiteX14" fmla="*/ 325000 h 606722"/>
                  <a:gd name="connsiteY14" fmla="*/ 325000 h 606722"/>
                  <a:gd name="connsiteX15" fmla="*/ 325000 h 606722"/>
                  <a:gd name="connsiteY15" fmla="*/ 325000 h 606722"/>
                  <a:gd name="connsiteX16" fmla="*/ 325000 h 606722"/>
                  <a:gd name="connsiteY16" fmla="*/ 325000 h 606722"/>
                  <a:gd name="connsiteX17" fmla="*/ 325000 h 606722"/>
                  <a:gd name="connsiteY17" fmla="*/ 325000 h 606722"/>
                  <a:gd name="connsiteX18" fmla="*/ 325000 h 606722"/>
                  <a:gd name="connsiteY18" fmla="*/ 325000 h 606722"/>
                  <a:gd name="connsiteX19" fmla="*/ 325000 h 606722"/>
                  <a:gd name="connsiteY19" fmla="*/ 325000 h 606722"/>
                  <a:gd name="connsiteX20" fmla="*/ 325000 h 606722"/>
                  <a:gd name="connsiteY20" fmla="*/ 325000 h 606722"/>
                  <a:gd name="connsiteX21" fmla="*/ 325000 h 606722"/>
                  <a:gd name="connsiteY21" fmla="*/ 325000 h 606722"/>
                  <a:gd name="connsiteX22" fmla="*/ 325000 h 606722"/>
                  <a:gd name="connsiteY22" fmla="*/ 325000 h 606722"/>
                  <a:gd name="connsiteX23" fmla="*/ 325000 h 606722"/>
                  <a:gd name="connsiteY23" fmla="*/ 325000 h 606722"/>
                  <a:gd name="connsiteX24" fmla="*/ 325000 h 606722"/>
                  <a:gd name="connsiteY24" fmla="*/ 325000 h 606722"/>
                  <a:gd name="connsiteX25" fmla="*/ 325000 h 606722"/>
                  <a:gd name="connsiteY25" fmla="*/ 325000 h 606722"/>
                  <a:gd name="connsiteX26" fmla="*/ 325000 h 606722"/>
                  <a:gd name="connsiteY26" fmla="*/ 325000 h 606722"/>
                  <a:gd name="connsiteX27" fmla="*/ 325000 h 606722"/>
                  <a:gd name="connsiteY27" fmla="*/ 325000 h 606722"/>
                  <a:gd name="connsiteX28" fmla="*/ 325000 h 606722"/>
                  <a:gd name="connsiteY28" fmla="*/ 325000 h 606722"/>
                  <a:gd name="connsiteX29" fmla="*/ 325000 h 606722"/>
                  <a:gd name="connsiteY29" fmla="*/ 325000 h 606722"/>
                  <a:gd name="connsiteX30" fmla="*/ 325000 h 606722"/>
                  <a:gd name="connsiteY30" fmla="*/ 325000 h 606722"/>
                  <a:gd name="connsiteX31" fmla="*/ 325000 h 606722"/>
                  <a:gd name="connsiteY31" fmla="*/ 325000 h 606722"/>
                  <a:gd name="connsiteX32" fmla="*/ 325000 h 606722"/>
                  <a:gd name="connsiteY32" fmla="*/ 325000 h 606722"/>
                  <a:gd name="connsiteX33" fmla="*/ 325000 h 606722"/>
                  <a:gd name="connsiteY33" fmla="*/ 325000 h 606722"/>
                  <a:gd name="connsiteX34" fmla="*/ 325000 h 606722"/>
                  <a:gd name="connsiteY34" fmla="*/ 325000 h 606722"/>
                  <a:gd name="connsiteX35" fmla="*/ 325000 h 606722"/>
                  <a:gd name="connsiteY35" fmla="*/ 325000 h 606722"/>
                  <a:gd name="connsiteX36" fmla="*/ 325000 h 606722"/>
                  <a:gd name="connsiteY36" fmla="*/ 325000 h 606722"/>
                  <a:gd name="connsiteX37" fmla="*/ 325000 h 606722"/>
                  <a:gd name="connsiteY37" fmla="*/ 325000 h 606722"/>
                  <a:gd name="connsiteX38" fmla="*/ 325000 h 606722"/>
                  <a:gd name="connsiteY38" fmla="*/ 325000 h 606722"/>
                  <a:gd name="connsiteX39" fmla="*/ 325000 h 606722"/>
                  <a:gd name="connsiteY39" fmla="*/ 325000 h 606722"/>
                  <a:gd name="connsiteX40" fmla="*/ 325000 h 606722"/>
                  <a:gd name="connsiteY40" fmla="*/ 325000 h 606722"/>
                  <a:gd name="connsiteX41" fmla="*/ 325000 h 606722"/>
                  <a:gd name="connsiteY41" fmla="*/ 325000 h 606722"/>
                  <a:gd name="connsiteX42" fmla="*/ 325000 h 606722"/>
                  <a:gd name="connsiteY42" fmla="*/ 325000 h 606722"/>
                  <a:gd name="connsiteX43" fmla="*/ 325000 h 606722"/>
                  <a:gd name="connsiteY43" fmla="*/ 325000 h 606722"/>
                  <a:gd name="connsiteX44" fmla="*/ 325000 h 606722"/>
                  <a:gd name="connsiteY44" fmla="*/ 325000 h 606722"/>
                  <a:gd name="connsiteX45" fmla="*/ 325000 h 606722"/>
                  <a:gd name="connsiteY45" fmla="*/ 325000 h 606722"/>
                  <a:gd name="connsiteX46" fmla="*/ 325000 h 606722"/>
                  <a:gd name="connsiteY46" fmla="*/ 325000 h 606722"/>
                  <a:gd name="connsiteX47" fmla="*/ 325000 h 606722"/>
                  <a:gd name="connsiteY47" fmla="*/ 325000 h 606722"/>
                  <a:gd name="connsiteX48" fmla="*/ 325000 h 606722"/>
                  <a:gd name="connsiteY48" fmla="*/ 325000 h 606722"/>
                  <a:gd name="connsiteX49" fmla="*/ 325000 h 606722"/>
                  <a:gd name="connsiteY49" fmla="*/ 325000 h 606722"/>
                  <a:gd name="connsiteX50" fmla="*/ 325000 h 606722"/>
                  <a:gd name="connsiteY50" fmla="*/ 325000 h 606722"/>
                  <a:gd name="connsiteX51" fmla="*/ 325000 h 606722"/>
                  <a:gd name="connsiteY51" fmla="*/ 325000 h 606722"/>
                  <a:gd name="connsiteX52" fmla="*/ 325000 h 606722"/>
                  <a:gd name="connsiteY52" fmla="*/ 325000 h 606722"/>
                  <a:gd name="connsiteX53" fmla="*/ 325000 h 606722"/>
                  <a:gd name="connsiteY53" fmla="*/ 325000 h 606722"/>
                  <a:gd name="connsiteX54" fmla="*/ 325000 h 606722"/>
                  <a:gd name="connsiteY54" fmla="*/ 325000 h 606722"/>
                  <a:gd name="connsiteX55" fmla="*/ 325000 h 606722"/>
                  <a:gd name="connsiteY55" fmla="*/ 325000 h 606722"/>
                  <a:gd name="connsiteX56" fmla="*/ 325000 h 606722"/>
                  <a:gd name="connsiteY56" fmla="*/ 325000 h 606722"/>
                  <a:gd name="connsiteX57" fmla="*/ 325000 h 606722"/>
                  <a:gd name="connsiteY57" fmla="*/ 325000 h 606722"/>
                  <a:gd name="connsiteX58" fmla="*/ 325000 h 606722"/>
                  <a:gd name="connsiteY58" fmla="*/ 325000 h 606722"/>
                  <a:gd name="connsiteX59" fmla="*/ 325000 h 606722"/>
                  <a:gd name="connsiteY59" fmla="*/ 325000 h 606722"/>
                  <a:gd name="connsiteX60" fmla="*/ 325000 h 606722"/>
                  <a:gd name="connsiteY60" fmla="*/ 325000 h 606722"/>
                  <a:gd name="connsiteX61" fmla="*/ 325000 h 606722"/>
                  <a:gd name="connsiteY61" fmla="*/ 325000 h 606722"/>
                  <a:gd name="connsiteX62" fmla="*/ 325000 h 606722"/>
                  <a:gd name="connsiteY62" fmla="*/ 325000 h 606722"/>
                  <a:gd name="connsiteX63" fmla="*/ 325000 h 606722"/>
                  <a:gd name="connsiteY63" fmla="*/ 325000 h 606722"/>
                  <a:gd name="connsiteX64" fmla="*/ 325000 h 606722"/>
                  <a:gd name="connsiteY64" fmla="*/ 325000 h 606722"/>
                  <a:gd name="connsiteX65" fmla="*/ 325000 h 606722"/>
                  <a:gd name="connsiteY65" fmla="*/ 325000 h 606722"/>
                  <a:gd name="connsiteX66" fmla="*/ 325000 h 606722"/>
                  <a:gd name="connsiteY66" fmla="*/ 325000 h 606722"/>
                  <a:gd name="connsiteX67" fmla="*/ 325000 h 606722"/>
                  <a:gd name="connsiteY67" fmla="*/ 32500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7535" h="606604">
                    <a:moveTo>
                      <a:pt x="394900" y="353768"/>
                    </a:moveTo>
                    <a:cubicBezTo>
                      <a:pt x="400507" y="353768"/>
                      <a:pt x="405045" y="358301"/>
                      <a:pt x="405045" y="363900"/>
                    </a:cubicBezTo>
                    <a:lnTo>
                      <a:pt x="405045" y="515616"/>
                    </a:lnTo>
                    <a:cubicBezTo>
                      <a:pt x="405045" y="543435"/>
                      <a:pt x="382353" y="566099"/>
                      <a:pt x="354410" y="566099"/>
                    </a:cubicBezTo>
                    <a:lnTo>
                      <a:pt x="212649" y="566099"/>
                    </a:lnTo>
                    <a:cubicBezTo>
                      <a:pt x="207131" y="566099"/>
                      <a:pt x="202593" y="561566"/>
                      <a:pt x="202593" y="556056"/>
                    </a:cubicBezTo>
                    <a:cubicBezTo>
                      <a:pt x="202593" y="550457"/>
                      <a:pt x="207131" y="545924"/>
                      <a:pt x="212649" y="545924"/>
                    </a:cubicBezTo>
                    <a:lnTo>
                      <a:pt x="354410" y="545924"/>
                    </a:lnTo>
                    <a:cubicBezTo>
                      <a:pt x="371140" y="545924"/>
                      <a:pt x="384845" y="532325"/>
                      <a:pt x="384845" y="515616"/>
                    </a:cubicBezTo>
                    <a:lnTo>
                      <a:pt x="384845" y="363900"/>
                    </a:lnTo>
                    <a:cubicBezTo>
                      <a:pt x="384845" y="358301"/>
                      <a:pt x="389294" y="353768"/>
                      <a:pt x="394900" y="353768"/>
                    </a:cubicBezTo>
                    <a:close/>
                    <a:moveTo>
                      <a:pt x="131640" y="262739"/>
                    </a:moveTo>
                    <a:cubicBezTo>
                      <a:pt x="137236" y="262739"/>
                      <a:pt x="141766" y="267271"/>
                      <a:pt x="141766" y="272870"/>
                    </a:cubicBezTo>
                    <a:lnTo>
                      <a:pt x="141766" y="333565"/>
                    </a:lnTo>
                    <a:cubicBezTo>
                      <a:pt x="141766" y="339075"/>
                      <a:pt x="137236" y="343607"/>
                      <a:pt x="131640" y="343607"/>
                    </a:cubicBezTo>
                    <a:cubicBezTo>
                      <a:pt x="126044" y="343607"/>
                      <a:pt x="121514" y="339075"/>
                      <a:pt x="121514" y="333565"/>
                    </a:cubicBezTo>
                    <a:lnTo>
                      <a:pt x="121514" y="272870"/>
                    </a:lnTo>
                    <a:cubicBezTo>
                      <a:pt x="121514" y="267271"/>
                      <a:pt x="126044" y="262739"/>
                      <a:pt x="131640" y="262739"/>
                    </a:cubicBezTo>
                    <a:close/>
                    <a:moveTo>
                      <a:pt x="489057" y="194973"/>
                    </a:moveTo>
                    <a:cubicBezTo>
                      <a:pt x="492973" y="190974"/>
                      <a:pt x="499381" y="190974"/>
                      <a:pt x="503386" y="194973"/>
                    </a:cubicBezTo>
                    <a:lnTo>
                      <a:pt x="604576" y="296095"/>
                    </a:lnTo>
                    <a:cubicBezTo>
                      <a:pt x="605555" y="296983"/>
                      <a:pt x="606267" y="298138"/>
                      <a:pt x="606801" y="299383"/>
                    </a:cubicBezTo>
                    <a:cubicBezTo>
                      <a:pt x="607780" y="301871"/>
                      <a:pt x="607780" y="304625"/>
                      <a:pt x="606801" y="307113"/>
                    </a:cubicBezTo>
                    <a:cubicBezTo>
                      <a:pt x="606267" y="308357"/>
                      <a:pt x="605555" y="309424"/>
                      <a:pt x="604576" y="310401"/>
                    </a:cubicBezTo>
                    <a:lnTo>
                      <a:pt x="503386" y="411434"/>
                    </a:lnTo>
                    <a:cubicBezTo>
                      <a:pt x="501339" y="413478"/>
                      <a:pt x="498758" y="414455"/>
                      <a:pt x="496177" y="414455"/>
                    </a:cubicBezTo>
                    <a:cubicBezTo>
                      <a:pt x="493596" y="414455"/>
                      <a:pt x="491015" y="413478"/>
                      <a:pt x="489057" y="411434"/>
                    </a:cubicBezTo>
                    <a:cubicBezTo>
                      <a:pt x="485052" y="407524"/>
                      <a:pt x="485052" y="401126"/>
                      <a:pt x="489057" y="397217"/>
                    </a:cubicBezTo>
                    <a:lnTo>
                      <a:pt x="572982" y="313333"/>
                    </a:lnTo>
                    <a:lnTo>
                      <a:pt x="232921" y="313333"/>
                    </a:lnTo>
                    <a:cubicBezTo>
                      <a:pt x="227314" y="313333"/>
                      <a:pt x="222775" y="308802"/>
                      <a:pt x="222775" y="303203"/>
                    </a:cubicBezTo>
                    <a:cubicBezTo>
                      <a:pt x="222775" y="297605"/>
                      <a:pt x="227314" y="293074"/>
                      <a:pt x="232921" y="293074"/>
                    </a:cubicBezTo>
                    <a:lnTo>
                      <a:pt x="572982" y="293074"/>
                    </a:lnTo>
                    <a:lnTo>
                      <a:pt x="489057" y="209279"/>
                    </a:lnTo>
                    <a:cubicBezTo>
                      <a:pt x="485052" y="205281"/>
                      <a:pt x="485052" y="198883"/>
                      <a:pt x="489057" y="194973"/>
                    </a:cubicBezTo>
                    <a:close/>
                    <a:moveTo>
                      <a:pt x="211398" y="40317"/>
                    </a:moveTo>
                    <a:lnTo>
                      <a:pt x="354409" y="40317"/>
                    </a:lnTo>
                    <a:cubicBezTo>
                      <a:pt x="382353" y="40317"/>
                      <a:pt x="405046" y="62981"/>
                      <a:pt x="405046" y="90889"/>
                    </a:cubicBezTo>
                    <a:lnTo>
                      <a:pt x="405046" y="242605"/>
                    </a:lnTo>
                    <a:cubicBezTo>
                      <a:pt x="405046" y="248115"/>
                      <a:pt x="400508" y="252648"/>
                      <a:pt x="394901" y="252648"/>
                    </a:cubicBezTo>
                    <a:cubicBezTo>
                      <a:pt x="389295" y="252648"/>
                      <a:pt x="384845" y="248115"/>
                      <a:pt x="384845" y="242605"/>
                    </a:cubicBezTo>
                    <a:lnTo>
                      <a:pt x="384845" y="90889"/>
                    </a:lnTo>
                    <a:cubicBezTo>
                      <a:pt x="384845" y="74180"/>
                      <a:pt x="371140" y="60581"/>
                      <a:pt x="354409" y="60581"/>
                    </a:cubicBezTo>
                    <a:lnTo>
                      <a:pt x="211398" y="60581"/>
                    </a:lnTo>
                    <a:cubicBezTo>
                      <a:pt x="205791" y="60581"/>
                      <a:pt x="201253" y="56048"/>
                      <a:pt x="201253" y="50449"/>
                    </a:cubicBezTo>
                    <a:cubicBezTo>
                      <a:pt x="201253" y="44850"/>
                      <a:pt x="205791" y="40317"/>
                      <a:pt x="211398" y="40317"/>
                    </a:cubicBezTo>
                    <a:close/>
                    <a:moveTo>
                      <a:pt x="147115" y="20146"/>
                    </a:moveTo>
                    <a:cubicBezTo>
                      <a:pt x="144890" y="20146"/>
                      <a:pt x="142576" y="20590"/>
                      <a:pt x="140084" y="21568"/>
                    </a:cubicBezTo>
                    <a:lnTo>
                      <a:pt x="44232" y="59782"/>
                    </a:lnTo>
                    <a:cubicBezTo>
                      <a:pt x="24919" y="66981"/>
                      <a:pt x="20292" y="73024"/>
                      <a:pt x="20292" y="90887"/>
                    </a:cubicBezTo>
                    <a:lnTo>
                      <a:pt x="20292" y="515689"/>
                    </a:lnTo>
                    <a:cubicBezTo>
                      <a:pt x="20292" y="533464"/>
                      <a:pt x="24919" y="539596"/>
                      <a:pt x="44054" y="546616"/>
                    </a:cubicBezTo>
                    <a:lnTo>
                      <a:pt x="140262" y="585098"/>
                    </a:lnTo>
                    <a:cubicBezTo>
                      <a:pt x="142576" y="585897"/>
                      <a:pt x="144890" y="586431"/>
                      <a:pt x="147115" y="586431"/>
                    </a:cubicBezTo>
                    <a:cubicBezTo>
                      <a:pt x="156015" y="586431"/>
                      <a:pt x="161978" y="578254"/>
                      <a:pt x="161978" y="566257"/>
                    </a:cubicBezTo>
                    <a:lnTo>
                      <a:pt x="161978" y="40319"/>
                    </a:lnTo>
                    <a:cubicBezTo>
                      <a:pt x="161978" y="28233"/>
                      <a:pt x="156015" y="20146"/>
                      <a:pt x="147115" y="20146"/>
                    </a:cubicBezTo>
                    <a:close/>
                    <a:moveTo>
                      <a:pt x="151669" y="315"/>
                    </a:moveTo>
                    <a:cubicBezTo>
                      <a:pt x="169354" y="2727"/>
                      <a:pt x="182270" y="18724"/>
                      <a:pt x="182270" y="40319"/>
                    </a:cubicBezTo>
                    <a:lnTo>
                      <a:pt x="182270" y="566257"/>
                    </a:lnTo>
                    <a:cubicBezTo>
                      <a:pt x="182270" y="589630"/>
                      <a:pt x="167496" y="606604"/>
                      <a:pt x="147115" y="606604"/>
                    </a:cubicBezTo>
                    <a:cubicBezTo>
                      <a:pt x="142487" y="606604"/>
                      <a:pt x="137681" y="605716"/>
                      <a:pt x="132964" y="603938"/>
                    </a:cubicBezTo>
                    <a:lnTo>
                      <a:pt x="36756" y="565457"/>
                    </a:lnTo>
                    <a:cubicBezTo>
                      <a:pt x="10057" y="555592"/>
                      <a:pt x="0" y="542084"/>
                      <a:pt x="0" y="515689"/>
                    </a:cubicBezTo>
                    <a:lnTo>
                      <a:pt x="0" y="90887"/>
                    </a:lnTo>
                    <a:cubicBezTo>
                      <a:pt x="0" y="64492"/>
                      <a:pt x="10057" y="50895"/>
                      <a:pt x="37023" y="40942"/>
                    </a:cubicBezTo>
                    <a:lnTo>
                      <a:pt x="132697" y="2727"/>
                    </a:lnTo>
                    <a:cubicBezTo>
                      <a:pt x="139350" y="217"/>
                      <a:pt x="145774" y="-489"/>
                      <a:pt x="151669" y="3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latin typeface="Calibri"/>
                  <a:ea typeface="微软雅黑"/>
                  <a:cs typeface="+mn-cs"/>
                </a:endParaRPr>
              </a:p>
            </p:txBody>
          </p:sp>
        </p:grpSp>
        <p:sp>
          <p:nvSpPr>
            <p:cNvPr id="22" name="ïśļîḋé"/>
            <p:cNvSpPr/>
            <p:nvPr/>
          </p:nvSpPr>
          <p:spPr>
            <a:xfrm>
              <a:off x="8246944" y="1631143"/>
              <a:ext cx="504056" cy="50405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buClrTx/>
              </a:pPr>
              <a:endParaRPr sz="1350" kern="1200">
                <a:solidFill>
                  <a:srgbClr val="FFFFFF"/>
                </a:solidFill>
                <a:latin typeface="Calibri"/>
                <a:ea typeface="微软雅黑"/>
              </a:endParaRPr>
            </a:p>
          </p:txBody>
        </p:sp>
        <p:grpSp>
          <p:nvGrpSpPr>
            <p:cNvPr id="26" name="íṧḷíďê"/>
            <p:cNvGrpSpPr/>
            <p:nvPr/>
          </p:nvGrpSpPr>
          <p:grpSpPr>
            <a:xfrm>
              <a:off x="968399" y="4965112"/>
              <a:ext cx="504056" cy="504056"/>
              <a:chOff x="8246944" y="4890007"/>
              <a:chExt cx="504056" cy="504056"/>
            </a:xfrm>
          </p:grpSpPr>
          <p:sp>
            <p:nvSpPr>
              <p:cNvPr id="27" name="ïṧ1iḍè"/>
              <p:cNvSpPr/>
              <p:nvPr/>
            </p:nvSpPr>
            <p:spPr>
              <a:xfrm>
                <a:off x="8246944" y="4890007"/>
                <a:ext cx="504056" cy="50405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28" name="îṧ1ïḓé"/>
              <p:cNvSpPr/>
              <p:nvPr/>
            </p:nvSpPr>
            <p:spPr bwMode="auto">
              <a:xfrm>
                <a:off x="8343443" y="4986745"/>
                <a:ext cx="311058" cy="310581"/>
              </a:xfrm>
              <a:custGeom>
                <a:avLst/>
                <a:gdLst>
                  <a:gd name="connsiteX0" fmla="*/ 325000 h 606722"/>
                  <a:gd name="connsiteY0" fmla="*/ 325000 h 606722"/>
                  <a:gd name="connsiteX1" fmla="*/ 325000 h 606722"/>
                  <a:gd name="connsiteY1" fmla="*/ 325000 h 606722"/>
                  <a:gd name="connsiteX2" fmla="*/ 325000 h 606722"/>
                  <a:gd name="connsiteY2" fmla="*/ 325000 h 606722"/>
                  <a:gd name="connsiteX3" fmla="*/ 325000 h 606722"/>
                  <a:gd name="connsiteY3" fmla="*/ 325000 h 606722"/>
                  <a:gd name="connsiteX4" fmla="*/ 325000 h 606722"/>
                  <a:gd name="connsiteY4" fmla="*/ 325000 h 606722"/>
                  <a:gd name="connsiteX5" fmla="*/ 325000 h 606722"/>
                  <a:gd name="connsiteY5" fmla="*/ 325000 h 606722"/>
                  <a:gd name="connsiteX6" fmla="*/ 325000 h 606722"/>
                  <a:gd name="connsiteY6" fmla="*/ 325000 h 606722"/>
                  <a:gd name="connsiteX7" fmla="*/ 325000 h 606722"/>
                  <a:gd name="connsiteY7" fmla="*/ 325000 h 606722"/>
                  <a:gd name="connsiteX8" fmla="*/ 325000 h 606722"/>
                  <a:gd name="connsiteY8" fmla="*/ 325000 h 606722"/>
                  <a:gd name="connsiteX9" fmla="*/ 325000 h 606722"/>
                  <a:gd name="connsiteY9" fmla="*/ 325000 h 606722"/>
                  <a:gd name="connsiteX10" fmla="*/ 325000 h 606722"/>
                  <a:gd name="connsiteY10" fmla="*/ 325000 h 606722"/>
                  <a:gd name="connsiteX11" fmla="*/ 325000 h 606722"/>
                  <a:gd name="connsiteY11" fmla="*/ 325000 h 606722"/>
                  <a:gd name="connsiteX12" fmla="*/ 325000 h 606722"/>
                  <a:gd name="connsiteY12" fmla="*/ 325000 h 606722"/>
                  <a:gd name="connsiteX13" fmla="*/ 325000 h 606722"/>
                  <a:gd name="connsiteY13" fmla="*/ 325000 h 606722"/>
                  <a:gd name="connsiteX14" fmla="*/ 325000 h 606722"/>
                  <a:gd name="connsiteY14" fmla="*/ 325000 h 606722"/>
                  <a:gd name="connsiteX15" fmla="*/ 325000 h 606722"/>
                  <a:gd name="connsiteY15" fmla="*/ 325000 h 606722"/>
                  <a:gd name="connsiteX16" fmla="*/ 325000 h 606722"/>
                  <a:gd name="connsiteY16" fmla="*/ 325000 h 606722"/>
                  <a:gd name="connsiteX17" fmla="*/ 325000 h 606722"/>
                  <a:gd name="connsiteY17" fmla="*/ 325000 h 606722"/>
                  <a:gd name="connsiteX18" fmla="*/ 325000 h 606722"/>
                  <a:gd name="connsiteY18" fmla="*/ 325000 h 606722"/>
                  <a:gd name="connsiteX19" fmla="*/ 325000 h 606722"/>
                  <a:gd name="connsiteY19" fmla="*/ 325000 h 606722"/>
                  <a:gd name="connsiteX20" fmla="*/ 325000 h 606722"/>
                  <a:gd name="connsiteY20" fmla="*/ 325000 h 606722"/>
                  <a:gd name="connsiteX21" fmla="*/ 325000 h 606722"/>
                  <a:gd name="connsiteY21" fmla="*/ 325000 h 606722"/>
                  <a:gd name="connsiteX22" fmla="*/ 325000 h 606722"/>
                  <a:gd name="connsiteY22" fmla="*/ 325000 h 606722"/>
                  <a:gd name="connsiteX23" fmla="*/ 325000 h 606722"/>
                  <a:gd name="connsiteY23" fmla="*/ 325000 h 606722"/>
                  <a:gd name="connsiteX24" fmla="*/ 325000 h 606722"/>
                  <a:gd name="connsiteY24" fmla="*/ 325000 h 606722"/>
                  <a:gd name="connsiteX25" fmla="*/ 325000 h 606722"/>
                  <a:gd name="connsiteY25" fmla="*/ 325000 h 606722"/>
                  <a:gd name="connsiteX26" fmla="*/ 325000 h 606722"/>
                  <a:gd name="connsiteY26" fmla="*/ 325000 h 606722"/>
                  <a:gd name="connsiteX27" fmla="*/ 325000 h 606722"/>
                  <a:gd name="connsiteY27" fmla="*/ 325000 h 606722"/>
                  <a:gd name="connsiteX28" fmla="*/ 325000 h 606722"/>
                  <a:gd name="connsiteY28" fmla="*/ 325000 h 606722"/>
                  <a:gd name="connsiteX29" fmla="*/ 325000 h 606722"/>
                  <a:gd name="connsiteY29" fmla="*/ 325000 h 606722"/>
                  <a:gd name="connsiteX30" fmla="*/ 325000 h 606722"/>
                  <a:gd name="connsiteY30" fmla="*/ 325000 h 606722"/>
                  <a:gd name="connsiteX31" fmla="*/ 325000 h 606722"/>
                  <a:gd name="connsiteY31" fmla="*/ 325000 h 606722"/>
                  <a:gd name="connsiteX32" fmla="*/ 325000 h 606722"/>
                  <a:gd name="connsiteY32" fmla="*/ 325000 h 606722"/>
                  <a:gd name="connsiteX33" fmla="*/ 325000 h 606722"/>
                  <a:gd name="connsiteY33" fmla="*/ 325000 h 606722"/>
                  <a:gd name="connsiteX34" fmla="*/ 325000 h 606722"/>
                  <a:gd name="connsiteY34" fmla="*/ 325000 h 606722"/>
                  <a:gd name="connsiteX35" fmla="*/ 325000 h 606722"/>
                  <a:gd name="connsiteY35" fmla="*/ 325000 h 606722"/>
                  <a:gd name="connsiteX36" fmla="*/ 325000 h 606722"/>
                  <a:gd name="connsiteY36" fmla="*/ 325000 h 606722"/>
                  <a:gd name="connsiteX37" fmla="*/ 325000 h 606722"/>
                  <a:gd name="connsiteY37" fmla="*/ 325000 h 606722"/>
                  <a:gd name="connsiteX38" fmla="*/ 325000 h 606722"/>
                  <a:gd name="connsiteY38" fmla="*/ 325000 h 606722"/>
                  <a:gd name="connsiteX39" fmla="*/ 325000 h 606722"/>
                  <a:gd name="connsiteY39" fmla="*/ 325000 h 606722"/>
                  <a:gd name="connsiteX40" fmla="*/ 325000 h 606722"/>
                  <a:gd name="connsiteY40" fmla="*/ 325000 h 606722"/>
                  <a:gd name="connsiteX41" fmla="*/ 325000 h 606722"/>
                  <a:gd name="connsiteY41" fmla="*/ 325000 h 606722"/>
                  <a:gd name="connsiteX42" fmla="*/ 325000 h 606722"/>
                  <a:gd name="connsiteY42" fmla="*/ 325000 h 606722"/>
                  <a:gd name="connsiteX43" fmla="*/ 325000 h 606722"/>
                  <a:gd name="connsiteY43" fmla="*/ 325000 h 606722"/>
                  <a:gd name="connsiteX44" fmla="*/ 325000 h 606722"/>
                  <a:gd name="connsiteY44" fmla="*/ 325000 h 606722"/>
                  <a:gd name="connsiteX45" fmla="*/ 325000 h 606722"/>
                  <a:gd name="connsiteY45" fmla="*/ 325000 h 606722"/>
                  <a:gd name="connsiteX46" fmla="*/ 325000 h 606722"/>
                  <a:gd name="connsiteY46" fmla="*/ 325000 h 606722"/>
                  <a:gd name="connsiteX47" fmla="*/ 325000 h 606722"/>
                  <a:gd name="connsiteY47" fmla="*/ 325000 h 606722"/>
                  <a:gd name="connsiteX48" fmla="*/ 325000 h 606722"/>
                  <a:gd name="connsiteY48" fmla="*/ 325000 h 606722"/>
                  <a:gd name="connsiteX49" fmla="*/ 325000 h 606722"/>
                  <a:gd name="connsiteY49" fmla="*/ 325000 h 606722"/>
                  <a:gd name="connsiteX50" fmla="*/ 325000 h 606722"/>
                  <a:gd name="connsiteY50" fmla="*/ 325000 h 606722"/>
                  <a:gd name="connsiteX51" fmla="*/ 325000 h 606722"/>
                  <a:gd name="connsiteY51" fmla="*/ 325000 h 606722"/>
                  <a:gd name="connsiteX52" fmla="*/ 325000 h 606722"/>
                  <a:gd name="connsiteY52" fmla="*/ 325000 h 606722"/>
                  <a:gd name="connsiteX53" fmla="*/ 325000 h 606722"/>
                  <a:gd name="connsiteY53" fmla="*/ 325000 h 606722"/>
                  <a:gd name="connsiteX54" fmla="*/ 325000 h 606722"/>
                  <a:gd name="connsiteY54" fmla="*/ 325000 h 606722"/>
                  <a:gd name="connsiteX55" fmla="*/ 325000 h 606722"/>
                  <a:gd name="connsiteY55" fmla="*/ 325000 h 606722"/>
                  <a:gd name="connsiteX56" fmla="*/ 325000 h 606722"/>
                  <a:gd name="connsiteY56" fmla="*/ 325000 h 606722"/>
                  <a:gd name="connsiteX57" fmla="*/ 325000 h 606722"/>
                  <a:gd name="connsiteY57" fmla="*/ 325000 h 606722"/>
                  <a:gd name="connsiteX58" fmla="*/ 325000 h 606722"/>
                  <a:gd name="connsiteY58" fmla="*/ 325000 h 606722"/>
                  <a:gd name="connsiteX59" fmla="*/ 325000 h 606722"/>
                  <a:gd name="connsiteY59" fmla="*/ 325000 h 606722"/>
                  <a:gd name="connsiteX60" fmla="*/ 325000 h 606722"/>
                  <a:gd name="connsiteY60" fmla="*/ 325000 h 606722"/>
                  <a:gd name="connsiteX61" fmla="*/ 325000 h 606722"/>
                  <a:gd name="connsiteY61" fmla="*/ 325000 h 606722"/>
                  <a:gd name="connsiteX62" fmla="*/ 325000 h 606722"/>
                  <a:gd name="connsiteY62" fmla="*/ 325000 h 606722"/>
                  <a:gd name="connsiteX63" fmla="*/ 325000 h 606722"/>
                  <a:gd name="connsiteY63" fmla="*/ 325000 h 606722"/>
                  <a:gd name="connsiteX64" fmla="*/ 325000 h 606722"/>
                  <a:gd name="connsiteY64" fmla="*/ 325000 h 606722"/>
                  <a:gd name="connsiteX65" fmla="*/ 325000 h 606722"/>
                  <a:gd name="connsiteY65" fmla="*/ 325000 h 606722"/>
                  <a:gd name="connsiteX66" fmla="*/ 325000 h 606722"/>
                  <a:gd name="connsiteY66" fmla="*/ 325000 h 606722"/>
                  <a:gd name="connsiteX67" fmla="*/ 325000 h 606722"/>
                  <a:gd name="connsiteY67" fmla="*/ 32500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7535" h="606604">
                    <a:moveTo>
                      <a:pt x="394900" y="353768"/>
                    </a:moveTo>
                    <a:cubicBezTo>
                      <a:pt x="400507" y="353768"/>
                      <a:pt x="405045" y="358301"/>
                      <a:pt x="405045" y="363900"/>
                    </a:cubicBezTo>
                    <a:lnTo>
                      <a:pt x="405045" y="515616"/>
                    </a:lnTo>
                    <a:cubicBezTo>
                      <a:pt x="405045" y="543435"/>
                      <a:pt x="382353" y="566099"/>
                      <a:pt x="354410" y="566099"/>
                    </a:cubicBezTo>
                    <a:lnTo>
                      <a:pt x="212649" y="566099"/>
                    </a:lnTo>
                    <a:cubicBezTo>
                      <a:pt x="207131" y="566099"/>
                      <a:pt x="202593" y="561566"/>
                      <a:pt x="202593" y="556056"/>
                    </a:cubicBezTo>
                    <a:cubicBezTo>
                      <a:pt x="202593" y="550457"/>
                      <a:pt x="207131" y="545924"/>
                      <a:pt x="212649" y="545924"/>
                    </a:cubicBezTo>
                    <a:lnTo>
                      <a:pt x="354410" y="545924"/>
                    </a:lnTo>
                    <a:cubicBezTo>
                      <a:pt x="371140" y="545924"/>
                      <a:pt x="384845" y="532325"/>
                      <a:pt x="384845" y="515616"/>
                    </a:cubicBezTo>
                    <a:lnTo>
                      <a:pt x="384845" y="363900"/>
                    </a:lnTo>
                    <a:cubicBezTo>
                      <a:pt x="384845" y="358301"/>
                      <a:pt x="389294" y="353768"/>
                      <a:pt x="394900" y="353768"/>
                    </a:cubicBezTo>
                    <a:close/>
                    <a:moveTo>
                      <a:pt x="131640" y="262739"/>
                    </a:moveTo>
                    <a:cubicBezTo>
                      <a:pt x="137236" y="262739"/>
                      <a:pt x="141766" y="267271"/>
                      <a:pt x="141766" y="272870"/>
                    </a:cubicBezTo>
                    <a:lnTo>
                      <a:pt x="141766" y="333565"/>
                    </a:lnTo>
                    <a:cubicBezTo>
                      <a:pt x="141766" y="339075"/>
                      <a:pt x="137236" y="343607"/>
                      <a:pt x="131640" y="343607"/>
                    </a:cubicBezTo>
                    <a:cubicBezTo>
                      <a:pt x="126044" y="343607"/>
                      <a:pt x="121514" y="339075"/>
                      <a:pt x="121514" y="333565"/>
                    </a:cubicBezTo>
                    <a:lnTo>
                      <a:pt x="121514" y="272870"/>
                    </a:lnTo>
                    <a:cubicBezTo>
                      <a:pt x="121514" y="267271"/>
                      <a:pt x="126044" y="262739"/>
                      <a:pt x="131640" y="262739"/>
                    </a:cubicBezTo>
                    <a:close/>
                    <a:moveTo>
                      <a:pt x="489057" y="194973"/>
                    </a:moveTo>
                    <a:cubicBezTo>
                      <a:pt x="492973" y="190974"/>
                      <a:pt x="499381" y="190974"/>
                      <a:pt x="503386" y="194973"/>
                    </a:cubicBezTo>
                    <a:lnTo>
                      <a:pt x="604576" y="296095"/>
                    </a:lnTo>
                    <a:cubicBezTo>
                      <a:pt x="605555" y="296983"/>
                      <a:pt x="606267" y="298138"/>
                      <a:pt x="606801" y="299383"/>
                    </a:cubicBezTo>
                    <a:cubicBezTo>
                      <a:pt x="607780" y="301871"/>
                      <a:pt x="607780" y="304625"/>
                      <a:pt x="606801" y="307113"/>
                    </a:cubicBezTo>
                    <a:cubicBezTo>
                      <a:pt x="606267" y="308357"/>
                      <a:pt x="605555" y="309424"/>
                      <a:pt x="604576" y="310401"/>
                    </a:cubicBezTo>
                    <a:lnTo>
                      <a:pt x="503386" y="411434"/>
                    </a:lnTo>
                    <a:cubicBezTo>
                      <a:pt x="501339" y="413478"/>
                      <a:pt x="498758" y="414455"/>
                      <a:pt x="496177" y="414455"/>
                    </a:cubicBezTo>
                    <a:cubicBezTo>
                      <a:pt x="493596" y="414455"/>
                      <a:pt x="491015" y="413478"/>
                      <a:pt x="489057" y="411434"/>
                    </a:cubicBezTo>
                    <a:cubicBezTo>
                      <a:pt x="485052" y="407524"/>
                      <a:pt x="485052" y="401126"/>
                      <a:pt x="489057" y="397217"/>
                    </a:cubicBezTo>
                    <a:lnTo>
                      <a:pt x="572982" y="313333"/>
                    </a:lnTo>
                    <a:lnTo>
                      <a:pt x="232921" y="313333"/>
                    </a:lnTo>
                    <a:cubicBezTo>
                      <a:pt x="227314" y="313333"/>
                      <a:pt x="222775" y="308802"/>
                      <a:pt x="222775" y="303203"/>
                    </a:cubicBezTo>
                    <a:cubicBezTo>
                      <a:pt x="222775" y="297605"/>
                      <a:pt x="227314" y="293074"/>
                      <a:pt x="232921" y="293074"/>
                    </a:cubicBezTo>
                    <a:lnTo>
                      <a:pt x="572982" y="293074"/>
                    </a:lnTo>
                    <a:lnTo>
                      <a:pt x="489057" y="209279"/>
                    </a:lnTo>
                    <a:cubicBezTo>
                      <a:pt x="485052" y="205281"/>
                      <a:pt x="485052" y="198883"/>
                      <a:pt x="489057" y="194973"/>
                    </a:cubicBezTo>
                    <a:close/>
                    <a:moveTo>
                      <a:pt x="211398" y="40317"/>
                    </a:moveTo>
                    <a:lnTo>
                      <a:pt x="354409" y="40317"/>
                    </a:lnTo>
                    <a:cubicBezTo>
                      <a:pt x="382353" y="40317"/>
                      <a:pt x="405046" y="62981"/>
                      <a:pt x="405046" y="90889"/>
                    </a:cubicBezTo>
                    <a:lnTo>
                      <a:pt x="405046" y="242605"/>
                    </a:lnTo>
                    <a:cubicBezTo>
                      <a:pt x="405046" y="248115"/>
                      <a:pt x="400508" y="252648"/>
                      <a:pt x="394901" y="252648"/>
                    </a:cubicBezTo>
                    <a:cubicBezTo>
                      <a:pt x="389295" y="252648"/>
                      <a:pt x="384845" y="248115"/>
                      <a:pt x="384845" y="242605"/>
                    </a:cubicBezTo>
                    <a:lnTo>
                      <a:pt x="384845" y="90889"/>
                    </a:lnTo>
                    <a:cubicBezTo>
                      <a:pt x="384845" y="74180"/>
                      <a:pt x="371140" y="60581"/>
                      <a:pt x="354409" y="60581"/>
                    </a:cubicBezTo>
                    <a:lnTo>
                      <a:pt x="211398" y="60581"/>
                    </a:lnTo>
                    <a:cubicBezTo>
                      <a:pt x="205791" y="60581"/>
                      <a:pt x="201253" y="56048"/>
                      <a:pt x="201253" y="50449"/>
                    </a:cubicBezTo>
                    <a:cubicBezTo>
                      <a:pt x="201253" y="44850"/>
                      <a:pt x="205791" y="40317"/>
                      <a:pt x="211398" y="40317"/>
                    </a:cubicBezTo>
                    <a:close/>
                    <a:moveTo>
                      <a:pt x="147115" y="20146"/>
                    </a:moveTo>
                    <a:cubicBezTo>
                      <a:pt x="144890" y="20146"/>
                      <a:pt x="142576" y="20590"/>
                      <a:pt x="140084" y="21568"/>
                    </a:cubicBezTo>
                    <a:lnTo>
                      <a:pt x="44232" y="59782"/>
                    </a:lnTo>
                    <a:cubicBezTo>
                      <a:pt x="24919" y="66981"/>
                      <a:pt x="20292" y="73024"/>
                      <a:pt x="20292" y="90887"/>
                    </a:cubicBezTo>
                    <a:lnTo>
                      <a:pt x="20292" y="515689"/>
                    </a:lnTo>
                    <a:cubicBezTo>
                      <a:pt x="20292" y="533464"/>
                      <a:pt x="24919" y="539596"/>
                      <a:pt x="44054" y="546616"/>
                    </a:cubicBezTo>
                    <a:lnTo>
                      <a:pt x="140262" y="585098"/>
                    </a:lnTo>
                    <a:cubicBezTo>
                      <a:pt x="142576" y="585897"/>
                      <a:pt x="144890" y="586431"/>
                      <a:pt x="147115" y="586431"/>
                    </a:cubicBezTo>
                    <a:cubicBezTo>
                      <a:pt x="156015" y="586431"/>
                      <a:pt x="161978" y="578254"/>
                      <a:pt x="161978" y="566257"/>
                    </a:cubicBezTo>
                    <a:lnTo>
                      <a:pt x="161978" y="40319"/>
                    </a:lnTo>
                    <a:cubicBezTo>
                      <a:pt x="161978" y="28233"/>
                      <a:pt x="156015" y="20146"/>
                      <a:pt x="147115" y="20146"/>
                    </a:cubicBezTo>
                    <a:close/>
                    <a:moveTo>
                      <a:pt x="151669" y="315"/>
                    </a:moveTo>
                    <a:cubicBezTo>
                      <a:pt x="169354" y="2727"/>
                      <a:pt x="182270" y="18724"/>
                      <a:pt x="182270" y="40319"/>
                    </a:cubicBezTo>
                    <a:lnTo>
                      <a:pt x="182270" y="566257"/>
                    </a:lnTo>
                    <a:cubicBezTo>
                      <a:pt x="182270" y="589630"/>
                      <a:pt x="167496" y="606604"/>
                      <a:pt x="147115" y="606604"/>
                    </a:cubicBezTo>
                    <a:cubicBezTo>
                      <a:pt x="142487" y="606604"/>
                      <a:pt x="137681" y="605716"/>
                      <a:pt x="132964" y="603938"/>
                    </a:cubicBezTo>
                    <a:lnTo>
                      <a:pt x="36756" y="565457"/>
                    </a:lnTo>
                    <a:cubicBezTo>
                      <a:pt x="10057" y="555592"/>
                      <a:pt x="0" y="542084"/>
                      <a:pt x="0" y="515689"/>
                    </a:cubicBezTo>
                    <a:lnTo>
                      <a:pt x="0" y="90887"/>
                    </a:lnTo>
                    <a:cubicBezTo>
                      <a:pt x="0" y="64492"/>
                      <a:pt x="10057" y="50895"/>
                      <a:pt x="37023" y="40942"/>
                    </a:cubicBezTo>
                    <a:lnTo>
                      <a:pt x="132697" y="2727"/>
                    </a:lnTo>
                    <a:cubicBezTo>
                      <a:pt x="139350" y="217"/>
                      <a:pt x="145774" y="-489"/>
                      <a:pt x="151669" y="3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latin typeface="Calibri"/>
                  <a:ea typeface="微软雅黑"/>
                  <a:cs typeface="+mn-cs"/>
                </a:endParaRPr>
              </a:p>
            </p:txBody>
          </p:sp>
        </p:grpSp>
      </p:grpSp>
      <p:sp>
        <p:nvSpPr>
          <p:cNvPr id="39" name="Rectangle 38"/>
          <p:cNvSpPr/>
          <p:nvPr/>
        </p:nvSpPr>
        <p:spPr>
          <a:xfrm>
            <a:off x="1205993" y="968203"/>
            <a:ext cx="258235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0"/>
              </a:spcBef>
              <a:buClrTx/>
            </a:pPr>
            <a:r>
              <a:rPr lang="en-IN" altLang="zh-CN" sz="1200" b="1" kern="1200" dirty="0">
                <a:solidFill>
                  <a:srgbClr val="70AD47"/>
                </a:solidFill>
                <a:latin typeface="Calibri"/>
                <a:ea typeface="微软雅黑"/>
                <a:cs typeface="+mn-cs"/>
              </a:rPr>
              <a:t>Farm Advisory Services</a:t>
            </a:r>
          </a:p>
        </p:txBody>
      </p:sp>
      <p:grpSp>
        <p:nvGrpSpPr>
          <p:cNvPr id="40" name="2afcd1f5-4a5e-475c-8e39-3932cc615179" descr="本素材由iSlide™ 提供&#10;iSlide™尊重知识产权并注重保护用户享有的各项权利。郑重提醒您：&#10;iSlide™插件中提供的任何信息内容的所有权、知识产权归其原始权利人或权利受让人所有，您免费/购买获得的是信息内容的使用权，并受下述条款的约束；&#10;1. 您仅可以个人非商业用途使用该等信息内容，不可将信息内容的全部或部分用于出售，或以出租、出借、转让、分销、发布等其他任何方式供他人使用；&#10;2. 禁止在接入互联网或移动互联网的任何网站、平台、应用或程序上以任何方式为他人提供iSlide™插件资源内容的下载。&#10;The resource is supplied by iSlide™.&#10;iSlide™ respects all intellectual property rights and protects all the rights its users acquired.Solemnly remind you:&#10;The ownership and intellectual property of the resources supplied in iSlide Add-in belongs to its owner or the assignee of this ownership.you only acquired the usage of the resources supplied in iSlide Add-in, as well as respected the following restrain terms:&#10;1.You are only allowed to use such resource for personal and non-commercial aim, not allowed to use such resource or part of it for the sale; or rent, lend, transfer to others; or distribution or release it in any way.&#10;2.You are not permitted to provide the resource of iSlide Add-in in any website, platform, application access to the Internet or mobile Internet." title="iSlide™ 版权声明  COPYRIGHT NOTICE"/>
          <p:cNvGrpSpPr>
            <a:grpSpLocks noChangeAspect="1"/>
          </p:cNvGrpSpPr>
          <p:nvPr>
            <p:custDataLst>
              <p:tags r:id="rId2"/>
            </p:custDataLst>
          </p:nvPr>
        </p:nvGrpSpPr>
        <p:grpSpPr>
          <a:xfrm>
            <a:off x="532589" y="1097472"/>
            <a:ext cx="8003399" cy="3186354"/>
            <a:chOff x="698161" y="1493400"/>
            <a:chExt cx="10671199" cy="4248472"/>
          </a:xfrm>
        </p:grpSpPr>
        <p:sp>
          <p:nvSpPr>
            <p:cNvPr id="43" name="iṩlídè"/>
            <p:cNvSpPr txBox="1"/>
            <p:nvPr/>
          </p:nvSpPr>
          <p:spPr bwMode="auto">
            <a:xfrm>
              <a:off x="698161" y="2900665"/>
              <a:ext cx="2090838" cy="3511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7500" rIns="67500">
              <a:normAutofit fontScale="92500" lnSpcReduction="10000"/>
            </a:bodyPr>
            <a:lstStyle/>
            <a:p>
              <a:pPr defTabSz="685800">
                <a:spcBef>
                  <a:spcPct val="0"/>
                </a:spcBef>
                <a:buClrTx/>
              </a:pPr>
              <a:r>
                <a:rPr lang="en-US" altLang="zh-CN" sz="1350" b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Backward Linkage</a:t>
              </a:r>
              <a:endParaRPr lang="zh-CN" altLang="en-US" sz="1350" b="1" kern="1200" dirty="0">
                <a:solidFill>
                  <a:srgbClr val="FFFFFF"/>
                </a:solidFill>
                <a:latin typeface="Calibri"/>
                <a:ea typeface="微软雅黑"/>
                <a:cs typeface="+mn-cs"/>
              </a:endParaRPr>
            </a:p>
          </p:txBody>
        </p:sp>
        <p:sp>
          <p:nvSpPr>
            <p:cNvPr id="45" name="íṥľídé"/>
            <p:cNvSpPr txBox="1"/>
            <p:nvPr/>
          </p:nvSpPr>
          <p:spPr bwMode="auto">
            <a:xfrm>
              <a:off x="9278522" y="2913218"/>
              <a:ext cx="2090838" cy="3511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67500" rIns="67500">
              <a:normAutofit fontScale="92500" lnSpcReduction="10000"/>
            </a:bodyPr>
            <a:lstStyle/>
            <a:p>
              <a:pPr defTabSz="685800">
                <a:spcBef>
                  <a:spcPct val="0"/>
                </a:spcBef>
                <a:buClrTx/>
              </a:pPr>
              <a:r>
                <a:rPr lang="en-US" altLang="zh-CN" sz="1350" b="1" kern="1200" dirty="0">
                  <a:solidFill>
                    <a:srgbClr val="FFFFFF"/>
                  </a:solidFill>
                  <a:latin typeface="Calibri"/>
                  <a:ea typeface="微软雅黑"/>
                  <a:cs typeface="+mn-cs"/>
                </a:rPr>
                <a:t>Market Linkage</a:t>
              </a:r>
              <a:endParaRPr lang="zh-CN" altLang="en-US" sz="1350" b="1" kern="1200" dirty="0">
                <a:solidFill>
                  <a:srgbClr val="FFFFFF"/>
                </a:solidFill>
                <a:latin typeface="Calibri"/>
                <a:ea typeface="微软雅黑"/>
                <a:cs typeface="+mn-cs"/>
              </a:endParaRPr>
            </a:p>
          </p:txBody>
        </p:sp>
        <p:grpSp>
          <p:nvGrpSpPr>
            <p:cNvPr id="46" name="ïsḻîďè"/>
            <p:cNvGrpSpPr/>
            <p:nvPr/>
          </p:nvGrpSpPr>
          <p:grpSpPr>
            <a:xfrm>
              <a:off x="3968095" y="1493400"/>
              <a:ext cx="4255810" cy="4248472"/>
              <a:chOff x="6238713" y="1340768"/>
              <a:chExt cx="4255810" cy="4248472"/>
            </a:xfrm>
          </p:grpSpPr>
          <p:sp>
            <p:nvSpPr>
              <p:cNvPr id="64" name="îşḻíḋé"/>
              <p:cNvSpPr/>
              <p:nvPr/>
            </p:nvSpPr>
            <p:spPr>
              <a:xfrm>
                <a:off x="6238713" y="2420888"/>
                <a:ext cx="2088232" cy="2088232"/>
              </a:xfrm>
              <a:prstGeom prst="diamond">
                <a:avLst/>
              </a:prstGeom>
              <a:blipFill>
                <a:blip r:embed="rId5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tretch>
                  <a:fillRect/>
                </a:stretch>
              </a:blipFill>
              <a:ln w="1905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65" name="ïşļiḑe"/>
              <p:cNvSpPr/>
              <p:nvPr/>
            </p:nvSpPr>
            <p:spPr>
              <a:xfrm>
                <a:off x="8406291" y="2420888"/>
                <a:ext cx="2088232" cy="2088232"/>
              </a:xfrm>
              <a:prstGeom prst="diamond">
                <a:avLst/>
              </a:prstGeom>
              <a:blipFill dpi="0" rotWithShape="1">
                <a:blip r:embed="rId6" cstate="screen">
                  <a:extLst>
                    <a:ext uri="{28A0092B-C50C-407E-A947-70E740481C1C}">
                      <a14:useLocalDpi xmlns:a14="http://schemas.microsoft.com/office/drawing/2010/main"/>
                    </a:ext>
                  </a:extLst>
                </a:blip>
                <a:srcRect/>
                <a:stretch>
                  <a:fillRect/>
                </a:stretch>
              </a:blipFill>
              <a:ln w="19050" cap="flat" cmpd="sng" algn="ctr">
                <a:solidFill>
                  <a:schemeClr val="bg1"/>
                </a:solidFill>
                <a:prstDash val="solid"/>
                <a:miter lim="800000"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grpSp>
            <p:nvGrpSpPr>
              <p:cNvPr id="66" name="íŝlïḑè"/>
              <p:cNvGrpSpPr>
                <a:grpSpLocks/>
              </p:cNvGrpSpPr>
              <p:nvPr/>
            </p:nvGrpSpPr>
            <p:grpSpPr>
              <a:xfrm>
                <a:off x="7325126" y="1340768"/>
                <a:ext cx="2089796" cy="2089796"/>
                <a:chOff x="7938352" y="2492896"/>
                <a:chExt cx="839888" cy="839888"/>
              </a:xfrm>
            </p:grpSpPr>
            <p:sp>
              <p:nvSpPr>
                <p:cNvPr id="70" name="ïšľíďê"/>
                <p:cNvSpPr/>
                <p:nvPr/>
              </p:nvSpPr>
              <p:spPr>
                <a:xfrm>
                  <a:off x="7938352" y="2492896"/>
                  <a:ext cx="839888" cy="839888"/>
                </a:xfrm>
                <a:prstGeom prst="diamond">
                  <a:avLst/>
                </a:prstGeom>
                <a:solidFill>
                  <a:schemeClr val="accent1">
                    <a:alpha val="80000"/>
                  </a:schemeClr>
                </a:solidFill>
                <a:ln w="19050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solidFill>
                      <a:srgbClr val="FFFFFF"/>
                    </a:solidFill>
                    <a:latin typeface="Calibri"/>
                    <a:ea typeface="微软雅黑"/>
                  </a:endParaRPr>
                </a:p>
              </p:txBody>
            </p:sp>
            <p:sp>
              <p:nvSpPr>
                <p:cNvPr id="71" name="íşļïḓé"/>
                <p:cNvSpPr/>
                <p:nvPr/>
              </p:nvSpPr>
              <p:spPr bwMode="auto">
                <a:xfrm>
                  <a:off x="8157808" y="2712476"/>
                  <a:ext cx="400976" cy="400728"/>
                </a:xfrm>
                <a:custGeom>
                  <a:avLst/>
                  <a:gdLst>
                    <a:gd name="connsiteX0" fmla="*/ 482620 w 607097"/>
                    <a:gd name="connsiteY0" fmla="*/ 381169 h 606722"/>
                    <a:gd name="connsiteX1" fmla="*/ 496768 w 607097"/>
                    <a:gd name="connsiteY1" fmla="*/ 381169 h 606722"/>
                    <a:gd name="connsiteX2" fmla="*/ 510916 w 607097"/>
                    <a:gd name="connsiteY2" fmla="*/ 395381 h 606722"/>
                    <a:gd name="connsiteX3" fmla="*/ 510916 w 607097"/>
                    <a:gd name="connsiteY3" fmla="*/ 409505 h 606722"/>
                    <a:gd name="connsiteX4" fmla="*/ 503887 w 607097"/>
                    <a:gd name="connsiteY4" fmla="*/ 412525 h 606722"/>
                    <a:gd name="connsiteX5" fmla="*/ 496768 w 607097"/>
                    <a:gd name="connsiteY5" fmla="*/ 409505 h 606722"/>
                    <a:gd name="connsiteX6" fmla="*/ 482620 w 607097"/>
                    <a:gd name="connsiteY6" fmla="*/ 395381 h 606722"/>
                    <a:gd name="connsiteX7" fmla="*/ 482620 w 607097"/>
                    <a:gd name="connsiteY7" fmla="*/ 381169 h 606722"/>
                    <a:gd name="connsiteX8" fmla="*/ 546398 w 607097"/>
                    <a:gd name="connsiteY8" fmla="*/ 242745 h 606722"/>
                    <a:gd name="connsiteX9" fmla="*/ 566606 w 607097"/>
                    <a:gd name="connsiteY9" fmla="*/ 242745 h 606722"/>
                    <a:gd name="connsiteX10" fmla="*/ 576754 w 607097"/>
                    <a:gd name="connsiteY10" fmla="*/ 252756 h 606722"/>
                    <a:gd name="connsiteX11" fmla="*/ 566606 w 607097"/>
                    <a:gd name="connsiteY11" fmla="*/ 262856 h 606722"/>
                    <a:gd name="connsiteX12" fmla="*/ 546398 w 607097"/>
                    <a:gd name="connsiteY12" fmla="*/ 262856 h 606722"/>
                    <a:gd name="connsiteX13" fmla="*/ 536249 w 607097"/>
                    <a:gd name="connsiteY13" fmla="*/ 252756 h 606722"/>
                    <a:gd name="connsiteX14" fmla="*/ 546398 w 607097"/>
                    <a:gd name="connsiteY14" fmla="*/ 242745 h 606722"/>
                    <a:gd name="connsiteX15" fmla="*/ 353968 w 607097"/>
                    <a:gd name="connsiteY15" fmla="*/ 101120 h 606722"/>
                    <a:gd name="connsiteX16" fmla="*/ 364118 w 607097"/>
                    <a:gd name="connsiteY16" fmla="*/ 111251 h 606722"/>
                    <a:gd name="connsiteX17" fmla="*/ 364118 w 607097"/>
                    <a:gd name="connsiteY17" fmla="*/ 242683 h 606722"/>
                    <a:gd name="connsiteX18" fmla="*/ 424838 w 607097"/>
                    <a:gd name="connsiteY18" fmla="*/ 242683 h 606722"/>
                    <a:gd name="connsiteX19" fmla="*/ 434988 w 607097"/>
                    <a:gd name="connsiteY19" fmla="*/ 252725 h 606722"/>
                    <a:gd name="connsiteX20" fmla="*/ 424838 w 607097"/>
                    <a:gd name="connsiteY20" fmla="*/ 262856 h 606722"/>
                    <a:gd name="connsiteX21" fmla="*/ 353968 w 607097"/>
                    <a:gd name="connsiteY21" fmla="*/ 262856 h 606722"/>
                    <a:gd name="connsiteX22" fmla="*/ 343818 w 607097"/>
                    <a:gd name="connsiteY22" fmla="*/ 252725 h 606722"/>
                    <a:gd name="connsiteX23" fmla="*/ 343818 w 607097"/>
                    <a:gd name="connsiteY23" fmla="*/ 111251 h 606722"/>
                    <a:gd name="connsiteX24" fmla="*/ 353968 w 607097"/>
                    <a:gd name="connsiteY24" fmla="*/ 101120 h 606722"/>
                    <a:gd name="connsiteX25" fmla="*/ 496768 w 607097"/>
                    <a:gd name="connsiteY25" fmla="*/ 96101 h 606722"/>
                    <a:gd name="connsiteX26" fmla="*/ 510916 w 607097"/>
                    <a:gd name="connsiteY26" fmla="*/ 96101 h 606722"/>
                    <a:gd name="connsiteX27" fmla="*/ 510916 w 607097"/>
                    <a:gd name="connsiteY27" fmla="*/ 110217 h 606722"/>
                    <a:gd name="connsiteX28" fmla="*/ 496768 w 607097"/>
                    <a:gd name="connsiteY28" fmla="*/ 124334 h 606722"/>
                    <a:gd name="connsiteX29" fmla="*/ 489650 w 607097"/>
                    <a:gd name="connsiteY29" fmla="*/ 127441 h 606722"/>
                    <a:gd name="connsiteX30" fmla="*/ 482620 w 607097"/>
                    <a:gd name="connsiteY30" fmla="*/ 124334 h 606722"/>
                    <a:gd name="connsiteX31" fmla="*/ 482620 w 607097"/>
                    <a:gd name="connsiteY31" fmla="*/ 110217 h 606722"/>
                    <a:gd name="connsiteX32" fmla="*/ 196955 w 607097"/>
                    <a:gd name="connsiteY32" fmla="*/ 96101 h 606722"/>
                    <a:gd name="connsiteX33" fmla="*/ 211110 w 607097"/>
                    <a:gd name="connsiteY33" fmla="*/ 96101 h 606722"/>
                    <a:gd name="connsiteX34" fmla="*/ 225355 w 607097"/>
                    <a:gd name="connsiteY34" fmla="*/ 110217 h 606722"/>
                    <a:gd name="connsiteX35" fmla="*/ 225355 w 607097"/>
                    <a:gd name="connsiteY35" fmla="*/ 124334 h 606722"/>
                    <a:gd name="connsiteX36" fmla="*/ 218233 w 607097"/>
                    <a:gd name="connsiteY36" fmla="*/ 127441 h 606722"/>
                    <a:gd name="connsiteX37" fmla="*/ 211110 w 607097"/>
                    <a:gd name="connsiteY37" fmla="*/ 124334 h 606722"/>
                    <a:gd name="connsiteX38" fmla="*/ 196955 w 607097"/>
                    <a:gd name="connsiteY38" fmla="*/ 110217 h 606722"/>
                    <a:gd name="connsiteX39" fmla="*/ 196955 w 607097"/>
                    <a:gd name="connsiteY39" fmla="*/ 96101 h 606722"/>
                    <a:gd name="connsiteX40" fmla="*/ 103963 w 607097"/>
                    <a:gd name="connsiteY40" fmla="*/ 81761 h 606722"/>
                    <a:gd name="connsiteX41" fmla="*/ 87598 w 607097"/>
                    <a:gd name="connsiteY41" fmla="*/ 90026 h 606722"/>
                    <a:gd name="connsiteX42" fmla="*/ 62322 w 607097"/>
                    <a:gd name="connsiteY42" fmla="*/ 115266 h 606722"/>
                    <a:gd name="connsiteX43" fmla="*/ 34998 w 607097"/>
                    <a:gd name="connsiteY43" fmla="*/ 265902 h 606722"/>
                    <a:gd name="connsiteX44" fmla="*/ 75494 w 607097"/>
                    <a:gd name="connsiteY44" fmla="*/ 322602 h 606722"/>
                    <a:gd name="connsiteX45" fmla="*/ 283044 w 607097"/>
                    <a:gd name="connsiteY45" fmla="*/ 530826 h 606722"/>
                    <a:gd name="connsiteX46" fmla="*/ 327634 w 607097"/>
                    <a:gd name="connsiteY46" fmla="*/ 565219 h 606722"/>
                    <a:gd name="connsiteX47" fmla="*/ 490684 w 607097"/>
                    <a:gd name="connsiteY47" fmla="*/ 545046 h 606722"/>
                    <a:gd name="connsiteX48" fmla="*/ 515960 w 607097"/>
                    <a:gd name="connsiteY48" fmla="*/ 519717 h 606722"/>
                    <a:gd name="connsiteX49" fmla="*/ 521033 w 607097"/>
                    <a:gd name="connsiteY49" fmla="*/ 485324 h 606722"/>
                    <a:gd name="connsiteX50" fmla="*/ 434969 w 607097"/>
                    <a:gd name="connsiteY50" fmla="*/ 411561 h 606722"/>
                    <a:gd name="connsiteX51" fmla="*/ 414321 w 607097"/>
                    <a:gd name="connsiteY51" fmla="*/ 406318 h 606722"/>
                    <a:gd name="connsiteX52" fmla="*/ 413698 w 607097"/>
                    <a:gd name="connsiteY52" fmla="*/ 406496 h 606722"/>
                    <a:gd name="connsiteX53" fmla="*/ 405599 w 607097"/>
                    <a:gd name="connsiteY53" fmla="*/ 413605 h 606722"/>
                    <a:gd name="connsiteX54" fmla="*/ 404620 w 607097"/>
                    <a:gd name="connsiteY54" fmla="*/ 414583 h 606722"/>
                    <a:gd name="connsiteX55" fmla="*/ 373202 w 607097"/>
                    <a:gd name="connsiteY55" fmla="*/ 447910 h 606722"/>
                    <a:gd name="connsiteX56" fmla="*/ 349528 w 607097"/>
                    <a:gd name="connsiteY56" fmla="*/ 459552 h 606722"/>
                    <a:gd name="connsiteX57" fmla="*/ 405599 w 607097"/>
                    <a:gd name="connsiteY57" fmla="*/ 475282 h 606722"/>
                    <a:gd name="connsiteX58" fmla="*/ 414677 w 607097"/>
                    <a:gd name="connsiteY58" fmla="*/ 486391 h 606722"/>
                    <a:gd name="connsiteX59" fmla="*/ 404620 w 607097"/>
                    <a:gd name="connsiteY59" fmla="*/ 495456 h 606722"/>
                    <a:gd name="connsiteX60" fmla="*/ 403552 w 607097"/>
                    <a:gd name="connsiteY60" fmla="*/ 495456 h 606722"/>
                    <a:gd name="connsiteX61" fmla="*/ 287138 w 607097"/>
                    <a:gd name="connsiteY61" fmla="*/ 441866 h 606722"/>
                    <a:gd name="connsiteX62" fmla="*/ 286426 w 607097"/>
                    <a:gd name="connsiteY62" fmla="*/ 441067 h 606722"/>
                    <a:gd name="connsiteX63" fmla="*/ 284112 w 607097"/>
                    <a:gd name="connsiteY63" fmla="*/ 438845 h 606722"/>
                    <a:gd name="connsiteX64" fmla="*/ 176777 w 607097"/>
                    <a:gd name="connsiteY64" fmla="*/ 331666 h 606722"/>
                    <a:gd name="connsiteX65" fmla="*/ 111895 w 607097"/>
                    <a:gd name="connsiteY65" fmla="*/ 213379 h 606722"/>
                    <a:gd name="connsiteX66" fmla="*/ 121062 w 607097"/>
                    <a:gd name="connsiteY66" fmla="*/ 202270 h 606722"/>
                    <a:gd name="connsiteX67" fmla="*/ 132188 w 607097"/>
                    <a:gd name="connsiteY67" fmla="*/ 211335 h 606722"/>
                    <a:gd name="connsiteX68" fmla="*/ 146428 w 607097"/>
                    <a:gd name="connsiteY68" fmla="*/ 259325 h 606722"/>
                    <a:gd name="connsiteX69" fmla="*/ 158532 w 607097"/>
                    <a:gd name="connsiteY69" fmla="*/ 233553 h 606722"/>
                    <a:gd name="connsiteX70" fmla="*/ 191907 w 607097"/>
                    <a:gd name="connsiteY70" fmla="*/ 202270 h 606722"/>
                    <a:gd name="connsiteX71" fmla="*/ 192975 w 607097"/>
                    <a:gd name="connsiteY71" fmla="*/ 201204 h 606722"/>
                    <a:gd name="connsiteX72" fmla="*/ 200006 w 607097"/>
                    <a:gd name="connsiteY72" fmla="*/ 193117 h 606722"/>
                    <a:gd name="connsiteX73" fmla="*/ 194933 w 607097"/>
                    <a:gd name="connsiteY73" fmla="*/ 170899 h 606722"/>
                    <a:gd name="connsiteX74" fmla="*/ 121062 w 607097"/>
                    <a:gd name="connsiteY74" fmla="*/ 84961 h 606722"/>
                    <a:gd name="connsiteX75" fmla="*/ 103963 w 607097"/>
                    <a:gd name="connsiteY75" fmla="*/ 81761 h 606722"/>
                    <a:gd name="connsiteX76" fmla="*/ 353980 w 607097"/>
                    <a:gd name="connsiteY76" fmla="*/ 30273 h 606722"/>
                    <a:gd name="connsiteX77" fmla="*/ 364141 w 607097"/>
                    <a:gd name="connsiteY77" fmla="*/ 40422 h 606722"/>
                    <a:gd name="connsiteX78" fmla="*/ 364141 w 607097"/>
                    <a:gd name="connsiteY78" fmla="*/ 60719 h 606722"/>
                    <a:gd name="connsiteX79" fmla="*/ 353980 w 607097"/>
                    <a:gd name="connsiteY79" fmla="*/ 70778 h 606722"/>
                    <a:gd name="connsiteX80" fmla="*/ 343818 w 607097"/>
                    <a:gd name="connsiteY80" fmla="*/ 60719 h 606722"/>
                    <a:gd name="connsiteX81" fmla="*/ 343818 w 607097"/>
                    <a:gd name="connsiteY81" fmla="*/ 40422 h 606722"/>
                    <a:gd name="connsiteX82" fmla="*/ 353980 w 607097"/>
                    <a:gd name="connsiteY82" fmla="*/ 30273 h 606722"/>
                    <a:gd name="connsiteX83" fmla="*/ 353978 w 607097"/>
                    <a:gd name="connsiteY83" fmla="*/ 20263 h 606722"/>
                    <a:gd name="connsiteX84" fmla="*/ 174819 w 607097"/>
                    <a:gd name="connsiteY84" fmla="*/ 104957 h 606722"/>
                    <a:gd name="connsiteX85" fmla="*/ 214246 w 607097"/>
                    <a:gd name="connsiteY85" fmla="*/ 160768 h 606722"/>
                    <a:gd name="connsiteX86" fmla="*/ 221278 w 607097"/>
                    <a:gd name="connsiteY86" fmla="*/ 198182 h 606722"/>
                    <a:gd name="connsiteX87" fmla="*/ 215938 w 607097"/>
                    <a:gd name="connsiteY87" fmla="*/ 209025 h 606722"/>
                    <a:gd name="connsiteX88" fmla="*/ 210152 w 607097"/>
                    <a:gd name="connsiteY88" fmla="*/ 215157 h 606722"/>
                    <a:gd name="connsiteX89" fmla="*/ 206147 w 607097"/>
                    <a:gd name="connsiteY89" fmla="*/ 218445 h 606722"/>
                    <a:gd name="connsiteX90" fmla="*/ 176777 w 607097"/>
                    <a:gd name="connsiteY90" fmla="*/ 244662 h 606722"/>
                    <a:gd name="connsiteX91" fmla="*/ 182829 w 607097"/>
                    <a:gd name="connsiteY91" fmla="*/ 308382 h 606722"/>
                    <a:gd name="connsiteX92" fmla="*/ 189504 w 607097"/>
                    <a:gd name="connsiteY92" fmla="*/ 315136 h 606722"/>
                    <a:gd name="connsiteX93" fmla="*/ 189949 w 607097"/>
                    <a:gd name="connsiteY93" fmla="*/ 315492 h 606722"/>
                    <a:gd name="connsiteX94" fmla="*/ 191640 w 607097"/>
                    <a:gd name="connsiteY94" fmla="*/ 317269 h 606722"/>
                    <a:gd name="connsiteX95" fmla="*/ 298263 w 607097"/>
                    <a:gd name="connsiteY95" fmla="*/ 424714 h 606722"/>
                    <a:gd name="connsiteX96" fmla="*/ 362077 w 607097"/>
                    <a:gd name="connsiteY96" fmla="*/ 430758 h 606722"/>
                    <a:gd name="connsiteX97" fmla="*/ 388422 w 607097"/>
                    <a:gd name="connsiteY97" fmla="*/ 401430 h 606722"/>
                    <a:gd name="connsiteX98" fmla="*/ 408625 w 607097"/>
                    <a:gd name="connsiteY98" fmla="*/ 386233 h 606722"/>
                    <a:gd name="connsiteX99" fmla="*/ 419661 w 607097"/>
                    <a:gd name="connsiteY99" fmla="*/ 384900 h 606722"/>
                    <a:gd name="connsiteX100" fmla="*/ 446094 w 607097"/>
                    <a:gd name="connsiteY100" fmla="*/ 392365 h 606722"/>
                    <a:gd name="connsiteX101" fmla="*/ 501987 w 607097"/>
                    <a:gd name="connsiteY101" fmla="*/ 431646 h 606722"/>
                    <a:gd name="connsiteX102" fmla="*/ 586894 w 607097"/>
                    <a:gd name="connsiteY102" fmla="*/ 252749 h 606722"/>
                    <a:gd name="connsiteX103" fmla="*/ 353978 w 607097"/>
                    <a:gd name="connsiteY103" fmla="*/ 20263 h 606722"/>
                    <a:gd name="connsiteX104" fmla="*/ 353978 w 607097"/>
                    <a:gd name="connsiteY104" fmla="*/ 0 h 606722"/>
                    <a:gd name="connsiteX105" fmla="*/ 607097 w 607097"/>
                    <a:gd name="connsiteY105" fmla="*/ 252749 h 606722"/>
                    <a:gd name="connsiteX106" fmla="*/ 517384 w 607097"/>
                    <a:gd name="connsiteY106" fmla="*/ 445421 h 606722"/>
                    <a:gd name="connsiteX107" fmla="*/ 540257 w 607097"/>
                    <a:gd name="connsiteY107" fmla="*/ 474215 h 606722"/>
                    <a:gd name="connsiteX108" fmla="*/ 531179 w 607097"/>
                    <a:gd name="connsiteY108" fmla="*/ 532870 h 606722"/>
                    <a:gd name="connsiteX109" fmla="*/ 505814 w 607097"/>
                    <a:gd name="connsiteY109" fmla="*/ 559176 h 606722"/>
                    <a:gd name="connsiteX110" fmla="*/ 401505 w 607097"/>
                    <a:gd name="connsiteY110" fmla="*/ 606722 h 606722"/>
                    <a:gd name="connsiteX111" fmla="*/ 318556 w 607097"/>
                    <a:gd name="connsiteY111" fmla="*/ 582460 h 606722"/>
                    <a:gd name="connsiteX112" fmla="*/ 268893 w 607097"/>
                    <a:gd name="connsiteY112" fmla="*/ 543979 h 606722"/>
                    <a:gd name="connsiteX113" fmla="*/ 61343 w 607097"/>
                    <a:gd name="connsiteY113" fmla="*/ 336732 h 606722"/>
                    <a:gd name="connsiteX114" fmla="*/ 16753 w 607097"/>
                    <a:gd name="connsiteY114" fmla="*/ 275056 h 606722"/>
                    <a:gd name="connsiteX115" fmla="*/ 48171 w 607097"/>
                    <a:gd name="connsiteY115" fmla="*/ 101135 h 606722"/>
                    <a:gd name="connsiteX116" fmla="*/ 73447 w 607097"/>
                    <a:gd name="connsiteY116" fmla="*/ 75807 h 606722"/>
                    <a:gd name="connsiteX117" fmla="*/ 132188 w 607097"/>
                    <a:gd name="connsiteY117" fmla="*/ 66742 h 606722"/>
                    <a:gd name="connsiteX118" fmla="*/ 160757 w 607097"/>
                    <a:gd name="connsiteY118" fmla="*/ 89315 h 606722"/>
                    <a:gd name="connsiteX119" fmla="*/ 353978 w 607097"/>
                    <a:gd name="connsiteY119" fmla="*/ 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  <a:cxn ang="0">
                      <a:pos x="connsiteX74" y="connsiteY74"/>
                    </a:cxn>
                    <a:cxn ang="0">
                      <a:pos x="connsiteX75" y="connsiteY75"/>
                    </a:cxn>
                    <a:cxn ang="0">
                      <a:pos x="connsiteX76" y="connsiteY76"/>
                    </a:cxn>
                    <a:cxn ang="0">
                      <a:pos x="connsiteX77" y="connsiteY77"/>
                    </a:cxn>
                    <a:cxn ang="0">
                      <a:pos x="connsiteX78" y="connsiteY78"/>
                    </a:cxn>
                    <a:cxn ang="0">
                      <a:pos x="connsiteX79" y="connsiteY79"/>
                    </a:cxn>
                    <a:cxn ang="0">
                      <a:pos x="connsiteX80" y="connsiteY80"/>
                    </a:cxn>
                    <a:cxn ang="0">
                      <a:pos x="connsiteX81" y="connsiteY81"/>
                    </a:cxn>
                    <a:cxn ang="0">
                      <a:pos x="connsiteX82" y="connsiteY82"/>
                    </a:cxn>
                    <a:cxn ang="0">
                      <a:pos x="connsiteX83" y="connsiteY83"/>
                    </a:cxn>
                    <a:cxn ang="0">
                      <a:pos x="connsiteX84" y="connsiteY84"/>
                    </a:cxn>
                    <a:cxn ang="0">
                      <a:pos x="connsiteX85" y="connsiteY85"/>
                    </a:cxn>
                    <a:cxn ang="0">
                      <a:pos x="connsiteX86" y="connsiteY86"/>
                    </a:cxn>
                    <a:cxn ang="0">
                      <a:pos x="connsiteX87" y="connsiteY87"/>
                    </a:cxn>
                    <a:cxn ang="0">
                      <a:pos x="connsiteX88" y="connsiteY88"/>
                    </a:cxn>
                    <a:cxn ang="0">
                      <a:pos x="connsiteX89" y="connsiteY89"/>
                    </a:cxn>
                    <a:cxn ang="0">
                      <a:pos x="connsiteX90" y="connsiteY90"/>
                    </a:cxn>
                    <a:cxn ang="0">
                      <a:pos x="connsiteX91" y="connsiteY91"/>
                    </a:cxn>
                    <a:cxn ang="0">
                      <a:pos x="connsiteX92" y="connsiteY92"/>
                    </a:cxn>
                    <a:cxn ang="0">
                      <a:pos x="connsiteX93" y="connsiteY93"/>
                    </a:cxn>
                    <a:cxn ang="0">
                      <a:pos x="connsiteX94" y="connsiteY94"/>
                    </a:cxn>
                    <a:cxn ang="0">
                      <a:pos x="connsiteX95" y="connsiteY95"/>
                    </a:cxn>
                    <a:cxn ang="0">
                      <a:pos x="connsiteX96" y="connsiteY96"/>
                    </a:cxn>
                    <a:cxn ang="0">
                      <a:pos x="connsiteX97" y="connsiteY97"/>
                    </a:cxn>
                    <a:cxn ang="0">
                      <a:pos x="connsiteX98" y="connsiteY98"/>
                    </a:cxn>
                    <a:cxn ang="0">
                      <a:pos x="connsiteX99" y="connsiteY99"/>
                    </a:cxn>
                    <a:cxn ang="0">
                      <a:pos x="connsiteX100" y="connsiteY100"/>
                    </a:cxn>
                    <a:cxn ang="0">
                      <a:pos x="connsiteX101" y="connsiteY101"/>
                    </a:cxn>
                    <a:cxn ang="0">
                      <a:pos x="connsiteX102" y="connsiteY102"/>
                    </a:cxn>
                    <a:cxn ang="0">
                      <a:pos x="connsiteX103" y="connsiteY103"/>
                    </a:cxn>
                    <a:cxn ang="0">
                      <a:pos x="connsiteX104" y="connsiteY104"/>
                    </a:cxn>
                    <a:cxn ang="0">
                      <a:pos x="connsiteX105" y="connsiteY105"/>
                    </a:cxn>
                    <a:cxn ang="0">
                      <a:pos x="connsiteX106" y="connsiteY106"/>
                    </a:cxn>
                    <a:cxn ang="0">
                      <a:pos x="connsiteX107" y="connsiteY107"/>
                    </a:cxn>
                    <a:cxn ang="0">
                      <a:pos x="connsiteX108" y="connsiteY108"/>
                    </a:cxn>
                    <a:cxn ang="0">
                      <a:pos x="connsiteX109" y="connsiteY109"/>
                    </a:cxn>
                    <a:cxn ang="0">
                      <a:pos x="connsiteX110" y="connsiteY110"/>
                    </a:cxn>
                    <a:cxn ang="0">
                      <a:pos x="connsiteX111" y="connsiteY111"/>
                    </a:cxn>
                    <a:cxn ang="0">
                      <a:pos x="connsiteX112" y="connsiteY112"/>
                    </a:cxn>
                    <a:cxn ang="0">
                      <a:pos x="connsiteX113" y="connsiteY113"/>
                    </a:cxn>
                    <a:cxn ang="0">
                      <a:pos x="connsiteX114" y="connsiteY114"/>
                    </a:cxn>
                    <a:cxn ang="0">
                      <a:pos x="connsiteX115" y="connsiteY115"/>
                    </a:cxn>
                    <a:cxn ang="0">
                      <a:pos x="connsiteX116" y="connsiteY116"/>
                    </a:cxn>
                    <a:cxn ang="0">
                      <a:pos x="connsiteX117" y="connsiteY117"/>
                    </a:cxn>
                    <a:cxn ang="0">
                      <a:pos x="connsiteX118" y="connsiteY118"/>
                    </a:cxn>
                    <a:cxn ang="0">
                      <a:pos x="connsiteX119" y="connsiteY119"/>
                    </a:cxn>
                  </a:cxnLst>
                  <a:rect l="l" t="t" r="r" b="b"/>
                  <a:pathLst>
                    <a:path w="607097" h="606722">
                      <a:moveTo>
                        <a:pt x="482620" y="381169"/>
                      </a:moveTo>
                      <a:cubicBezTo>
                        <a:pt x="486624" y="377172"/>
                        <a:pt x="492675" y="377172"/>
                        <a:pt x="496768" y="381169"/>
                      </a:cubicBezTo>
                      <a:lnTo>
                        <a:pt x="510916" y="395381"/>
                      </a:lnTo>
                      <a:cubicBezTo>
                        <a:pt x="515009" y="399379"/>
                        <a:pt x="515009" y="405419"/>
                        <a:pt x="510916" y="409505"/>
                      </a:cubicBezTo>
                      <a:cubicBezTo>
                        <a:pt x="509937" y="412525"/>
                        <a:pt x="506912" y="412525"/>
                        <a:pt x="503887" y="412525"/>
                      </a:cubicBezTo>
                      <a:cubicBezTo>
                        <a:pt x="500861" y="412525"/>
                        <a:pt x="498815" y="411548"/>
                        <a:pt x="496768" y="409505"/>
                      </a:cubicBezTo>
                      <a:lnTo>
                        <a:pt x="482620" y="395381"/>
                      </a:lnTo>
                      <a:cubicBezTo>
                        <a:pt x="478527" y="391295"/>
                        <a:pt x="478527" y="385255"/>
                        <a:pt x="482620" y="381169"/>
                      </a:cubicBezTo>
                      <a:close/>
                      <a:moveTo>
                        <a:pt x="546398" y="242745"/>
                      </a:moveTo>
                      <a:lnTo>
                        <a:pt x="566606" y="242745"/>
                      </a:lnTo>
                      <a:cubicBezTo>
                        <a:pt x="572659" y="242745"/>
                        <a:pt x="576754" y="246732"/>
                        <a:pt x="576754" y="252756"/>
                      </a:cubicBezTo>
                      <a:cubicBezTo>
                        <a:pt x="576754" y="258869"/>
                        <a:pt x="572659" y="262856"/>
                        <a:pt x="566606" y="262856"/>
                      </a:cubicBezTo>
                      <a:lnTo>
                        <a:pt x="546398" y="262856"/>
                      </a:lnTo>
                      <a:cubicBezTo>
                        <a:pt x="540255" y="262856"/>
                        <a:pt x="536249" y="258869"/>
                        <a:pt x="536249" y="252756"/>
                      </a:cubicBezTo>
                      <a:cubicBezTo>
                        <a:pt x="536249" y="246732"/>
                        <a:pt x="540255" y="242745"/>
                        <a:pt x="546398" y="242745"/>
                      </a:cubicBezTo>
                      <a:close/>
                      <a:moveTo>
                        <a:pt x="353968" y="101120"/>
                      </a:moveTo>
                      <a:cubicBezTo>
                        <a:pt x="360022" y="101120"/>
                        <a:pt x="364118" y="105119"/>
                        <a:pt x="364118" y="111251"/>
                      </a:cubicBezTo>
                      <a:lnTo>
                        <a:pt x="364118" y="242683"/>
                      </a:lnTo>
                      <a:lnTo>
                        <a:pt x="424838" y="242683"/>
                      </a:lnTo>
                      <a:cubicBezTo>
                        <a:pt x="430893" y="242683"/>
                        <a:pt x="434988" y="246682"/>
                        <a:pt x="434988" y="252725"/>
                      </a:cubicBezTo>
                      <a:cubicBezTo>
                        <a:pt x="434988" y="258857"/>
                        <a:pt x="430893" y="262856"/>
                        <a:pt x="424838" y="262856"/>
                      </a:cubicBezTo>
                      <a:lnTo>
                        <a:pt x="353968" y="262856"/>
                      </a:lnTo>
                      <a:cubicBezTo>
                        <a:pt x="347825" y="262856"/>
                        <a:pt x="343818" y="258857"/>
                        <a:pt x="343818" y="252725"/>
                      </a:cubicBezTo>
                      <a:lnTo>
                        <a:pt x="343818" y="111251"/>
                      </a:lnTo>
                      <a:cubicBezTo>
                        <a:pt x="343818" y="105119"/>
                        <a:pt x="347825" y="101120"/>
                        <a:pt x="353968" y="101120"/>
                      </a:cubicBezTo>
                      <a:close/>
                      <a:moveTo>
                        <a:pt x="496768" y="96101"/>
                      </a:moveTo>
                      <a:cubicBezTo>
                        <a:pt x="500861" y="92017"/>
                        <a:pt x="506912" y="92017"/>
                        <a:pt x="510916" y="96101"/>
                      </a:cubicBezTo>
                      <a:cubicBezTo>
                        <a:pt x="515009" y="100096"/>
                        <a:pt x="515009" y="106222"/>
                        <a:pt x="510916" y="110217"/>
                      </a:cubicBezTo>
                      <a:lnTo>
                        <a:pt x="496768" y="124334"/>
                      </a:lnTo>
                      <a:cubicBezTo>
                        <a:pt x="494722" y="126376"/>
                        <a:pt x="492675" y="127441"/>
                        <a:pt x="489650" y="127441"/>
                      </a:cubicBezTo>
                      <a:cubicBezTo>
                        <a:pt x="486624" y="127441"/>
                        <a:pt x="484578" y="126376"/>
                        <a:pt x="482620" y="124334"/>
                      </a:cubicBezTo>
                      <a:cubicBezTo>
                        <a:pt x="478527" y="120338"/>
                        <a:pt x="478527" y="114301"/>
                        <a:pt x="482620" y="110217"/>
                      </a:cubicBezTo>
                      <a:close/>
                      <a:moveTo>
                        <a:pt x="196955" y="96101"/>
                      </a:moveTo>
                      <a:cubicBezTo>
                        <a:pt x="201050" y="92017"/>
                        <a:pt x="207104" y="92017"/>
                        <a:pt x="211110" y="96101"/>
                      </a:cubicBezTo>
                      <a:lnTo>
                        <a:pt x="225355" y="110217"/>
                      </a:lnTo>
                      <a:cubicBezTo>
                        <a:pt x="229361" y="114301"/>
                        <a:pt x="229361" y="120338"/>
                        <a:pt x="225355" y="124334"/>
                      </a:cubicBezTo>
                      <a:cubicBezTo>
                        <a:pt x="223307" y="126376"/>
                        <a:pt x="220280" y="127441"/>
                        <a:pt x="218233" y="127441"/>
                      </a:cubicBezTo>
                      <a:cubicBezTo>
                        <a:pt x="215206" y="127441"/>
                        <a:pt x="213158" y="126376"/>
                        <a:pt x="211110" y="124334"/>
                      </a:cubicBezTo>
                      <a:lnTo>
                        <a:pt x="196955" y="110217"/>
                      </a:lnTo>
                      <a:cubicBezTo>
                        <a:pt x="192949" y="106222"/>
                        <a:pt x="192949" y="100096"/>
                        <a:pt x="196955" y="96101"/>
                      </a:cubicBezTo>
                      <a:close/>
                      <a:moveTo>
                        <a:pt x="103963" y="81761"/>
                      </a:moveTo>
                      <a:cubicBezTo>
                        <a:pt x="98011" y="82650"/>
                        <a:pt x="92182" y="85449"/>
                        <a:pt x="87598" y="90026"/>
                      </a:cubicBezTo>
                      <a:lnTo>
                        <a:pt x="62322" y="115266"/>
                      </a:lnTo>
                      <a:cubicBezTo>
                        <a:pt x="17732" y="159790"/>
                        <a:pt x="8654" y="209291"/>
                        <a:pt x="34998" y="265902"/>
                      </a:cubicBezTo>
                      <a:cubicBezTo>
                        <a:pt x="44077" y="285187"/>
                        <a:pt x="57249" y="304383"/>
                        <a:pt x="75494" y="322602"/>
                      </a:cubicBezTo>
                      <a:lnTo>
                        <a:pt x="283044" y="530826"/>
                      </a:lnTo>
                      <a:cubicBezTo>
                        <a:pt x="297284" y="545046"/>
                        <a:pt x="312415" y="557132"/>
                        <a:pt x="327634" y="565219"/>
                      </a:cubicBezTo>
                      <a:cubicBezTo>
                        <a:pt x="389401" y="599612"/>
                        <a:pt x="443068" y="592503"/>
                        <a:pt x="490684" y="545046"/>
                      </a:cubicBezTo>
                      <a:lnTo>
                        <a:pt x="515960" y="519717"/>
                      </a:lnTo>
                      <a:cubicBezTo>
                        <a:pt x="525127" y="510653"/>
                        <a:pt x="527085" y="496433"/>
                        <a:pt x="521033" y="485324"/>
                      </a:cubicBezTo>
                      <a:cubicBezTo>
                        <a:pt x="503856" y="451998"/>
                        <a:pt x="434969" y="411561"/>
                        <a:pt x="434969" y="411561"/>
                      </a:cubicBezTo>
                      <a:cubicBezTo>
                        <a:pt x="427582" y="407829"/>
                        <a:pt x="420195" y="405874"/>
                        <a:pt x="414321" y="406318"/>
                      </a:cubicBezTo>
                      <a:cubicBezTo>
                        <a:pt x="414143" y="406318"/>
                        <a:pt x="413876" y="406407"/>
                        <a:pt x="413698" y="406496"/>
                      </a:cubicBezTo>
                      <a:cubicBezTo>
                        <a:pt x="409604" y="407473"/>
                        <a:pt x="407646" y="409517"/>
                        <a:pt x="405599" y="413605"/>
                      </a:cubicBezTo>
                      <a:lnTo>
                        <a:pt x="404620" y="414583"/>
                      </a:lnTo>
                      <a:cubicBezTo>
                        <a:pt x="397500" y="423648"/>
                        <a:pt x="380323" y="443910"/>
                        <a:pt x="373202" y="447910"/>
                      </a:cubicBezTo>
                      <a:cubicBezTo>
                        <a:pt x="365548" y="453242"/>
                        <a:pt x="357538" y="457152"/>
                        <a:pt x="349528" y="459552"/>
                      </a:cubicBezTo>
                      <a:cubicBezTo>
                        <a:pt x="365281" y="466839"/>
                        <a:pt x="384328" y="473149"/>
                        <a:pt x="405599" y="475282"/>
                      </a:cubicBezTo>
                      <a:cubicBezTo>
                        <a:pt x="410672" y="476259"/>
                        <a:pt x="414677" y="480259"/>
                        <a:pt x="414677" y="486391"/>
                      </a:cubicBezTo>
                      <a:cubicBezTo>
                        <a:pt x="413698" y="491456"/>
                        <a:pt x="409604" y="495456"/>
                        <a:pt x="404620" y="495456"/>
                      </a:cubicBezTo>
                      <a:lnTo>
                        <a:pt x="403552" y="495456"/>
                      </a:lnTo>
                      <a:cubicBezTo>
                        <a:pt x="333686" y="488346"/>
                        <a:pt x="288117" y="443910"/>
                        <a:pt x="287138" y="441866"/>
                      </a:cubicBezTo>
                      <a:cubicBezTo>
                        <a:pt x="286871" y="441600"/>
                        <a:pt x="286604" y="441333"/>
                        <a:pt x="286426" y="441067"/>
                      </a:cubicBezTo>
                      <a:cubicBezTo>
                        <a:pt x="285625" y="440356"/>
                        <a:pt x="284824" y="439645"/>
                        <a:pt x="284112" y="438845"/>
                      </a:cubicBezTo>
                      <a:lnTo>
                        <a:pt x="176777" y="331666"/>
                      </a:lnTo>
                      <a:cubicBezTo>
                        <a:pt x="174730" y="329622"/>
                        <a:pt x="119015" y="284120"/>
                        <a:pt x="111895" y="213379"/>
                      </a:cubicBezTo>
                      <a:cubicBezTo>
                        <a:pt x="110916" y="208314"/>
                        <a:pt x="115010" y="203248"/>
                        <a:pt x="121062" y="202270"/>
                      </a:cubicBezTo>
                      <a:cubicBezTo>
                        <a:pt x="127115" y="201204"/>
                        <a:pt x="131209" y="205292"/>
                        <a:pt x="132188" y="211335"/>
                      </a:cubicBezTo>
                      <a:cubicBezTo>
                        <a:pt x="133968" y="229109"/>
                        <a:pt x="139486" y="245284"/>
                        <a:pt x="146428" y="259325"/>
                      </a:cubicBezTo>
                      <a:cubicBezTo>
                        <a:pt x="148653" y="250794"/>
                        <a:pt x="152658" y="242262"/>
                        <a:pt x="158532" y="233553"/>
                      </a:cubicBezTo>
                      <a:cubicBezTo>
                        <a:pt x="162537" y="227510"/>
                        <a:pt x="183808" y="210358"/>
                        <a:pt x="191907" y="202270"/>
                      </a:cubicBezTo>
                      <a:lnTo>
                        <a:pt x="192975" y="201204"/>
                      </a:lnTo>
                      <a:cubicBezTo>
                        <a:pt x="196980" y="199160"/>
                        <a:pt x="199027" y="196138"/>
                        <a:pt x="200006" y="193117"/>
                      </a:cubicBezTo>
                      <a:cubicBezTo>
                        <a:pt x="202053" y="187073"/>
                        <a:pt x="200006" y="178986"/>
                        <a:pt x="194933" y="170899"/>
                      </a:cubicBezTo>
                      <a:cubicBezTo>
                        <a:pt x="194933" y="169832"/>
                        <a:pt x="154438" y="102113"/>
                        <a:pt x="121062" y="84961"/>
                      </a:cubicBezTo>
                      <a:cubicBezTo>
                        <a:pt x="115989" y="81895"/>
                        <a:pt x="109915" y="80873"/>
                        <a:pt x="103963" y="81761"/>
                      </a:cubicBezTo>
                      <a:close/>
                      <a:moveTo>
                        <a:pt x="353980" y="30273"/>
                      </a:moveTo>
                      <a:cubicBezTo>
                        <a:pt x="360041" y="30273"/>
                        <a:pt x="364141" y="34368"/>
                        <a:pt x="364141" y="40422"/>
                      </a:cubicBezTo>
                      <a:lnTo>
                        <a:pt x="364141" y="60719"/>
                      </a:lnTo>
                      <a:cubicBezTo>
                        <a:pt x="364141" y="66772"/>
                        <a:pt x="360041" y="70778"/>
                        <a:pt x="353980" y="70778"/>
                      </a:cubicBezTo>
                      <a:cubicBezTo>
                        <a:pt x="347829" y="70778"/>
                        <a:pt x="343818" y="66772"/>
                        <a:pt x="343818" y="60719"/>
                      </a:cubicBezTo>
                      <a:lnTo>
                        <a:pt x="343818" y="40422"/>
                      </a:lnTo>
                      <a:cubicBezTo>
                        <a:pt x="343818" y="34368"/>
                        <a:pt x="347829" y="30273"/>
                        <a:pt x="353980" y="30273"/>
                      </a:cubicBezTo>
                      <a:close/>
                      <a:moveTo>
                        <a:pt x="353978" y="20263"/>
                      </a:moveTo>
                      <a:cubicBezTo>
                        <a:pt x="284112" y="20263"/>
                        <a:pt x="219409" y="50479"/>
                        <a:pt x="174819" y="104957"/>
                      </a:cubicBezTo>
                      <a:cubicBezTo>
                        <a:pt x="196446" y="130818"/>
                        <a:pt x="212911" y="158901"/>
                        <a:pt x="214246" y="160768"/>
                      </a:cubicBezTo>
                      <a:cubicBezTo>
                        <a:pt x="221278" y="173920"/>
                        <a:pt x="224304" y="187073"/>
                        <a:pt x="221278" y="198182"/>
                      </a:cubicBezTo>
                      <a:cubicBezTo>
                        <a:pt x="220299" y="202093"/>
                        <a:pt x="218430" y="205736"/>
                        <a:pt x="215938" y="209025"/>
                      </a:cubicBezTo>
                      <a:cubicBezTo>
                        <a:pt x="214336" y="211335"/>
                        <a:pt x="212466" y="213379"/>
                        <a:pt x="210152" y="215157"/>
                      </a:cubicBezTo>
                      <a:cubicBezTo>
                        <a:pt x="208906" y="216312"/>
                        <a:pt x="207482" y="217378"/>
                        <a:pt x="206147" y="218445"/>
                      </a:cubicBezTo>
                      <a:cubicBezTo>
                        <a:pt x="193954" y="228487"/>
                        <a:pt x="179803" y="241640"/>
                        <a:pt x="176777" y="244662"/>
                      </a:cubicBezTo>
                      <a:cubicBezTo>
                        <a:pt x="160579" y="269012"/>
                        <a:pt x="162537" y="287142"/>
                        <a:pt x="182829" y="308382"/>
                      </a:cubicBezTo>
                      <a:lnTo>
                        <a:pt x="189504" y="315136"/>
                      </a:lnTo>
                      <a:cubicBezTo>
                        <a:pt x="189771" y="315403"/>
                        <a:pt x="189949" y="315492"/>
                        <a:pt x="189949" y="315492"/>
                      </a:cubicBezTo>
                      <a:cubicBezTo>
                        <a:pt x="190572" y="316025"/>
                        <a:pt x="191195" y="316647"/>
                        <a:pt x="191640" y="317269"/>
                      </a:cubicBezTo>
                      <a:lnTo>
                        <a:pt x="298263" y="424714"/>
                      </a:lnTo>
                      <a:cubicBezTo>
                        <a:pt x="318556" y="444888"/>
                        <a:pt x="337780" y="446932"/>
                        <a:pt x="362077" y="430758"/>
                      </a:cubicBezTo>
                      <a:cubicBezTo>
                        <a:pt x="365103" y="428713"/>
                        <a:pt x="378275" y="414583"/>
                        <a:pt x="388422" y="401430"/>
                      </a:cubicBezTo>
                      <a:cubicBezTo>
                        <a:pt x="393406" y="393343"/>
                        <a:pt x="400526" y="388277"/>
                        <a:pt x="408625" y="386233"/>
                      </a:cubicBezTo>
                      <a:cubicBezTo>
                        <a:pt x="412096" y="385344"/>
                        <a:pt x="415834" y="384900"/>
                        <a:pt x="419661" y="384900"/>
                      </a:cubicBezTo>
                      <a:cubicBezTo>
                        <a:pt x="428294" y="384989"/>
                        <a:pt x="437728" y="387477"/>
                        <a:pt x="446094" y="392365"/>
                      </a:cubicBezTo>
                      <a:cubicBezTo>
                        <a:pt x="447963" y="393609"/>
                        <a:pt x="476088" y="410051"/>
                        <a:pt x="501987" y="431646"/>
                      </a:cubicBezTo>
                      <a:cubicBezTo>
                        <a:pt x="556545" y="387122"/>
                        <a:pt x="586894" y="322513"/>
                        <a:pt x="586894" y="252749"/>
                      </a:cubicBezTo>
                      <a:cubicBezTo>
                        <a:pt x="586894" y="124330"/>
                        <a:pt x="482585" y="20263"/>
                        <a:pt x="353978" y="20263"/>
                      </a:cubicBezTo>
                      <a:close/>
                      <a:moveTo>
                        <a:pt x="353978" y="0"/>
                      </a:moveTo>
                      <a:cubicBezTo>
                        <a:pt x="493710" y="0"/>
                        <a:pt x="607097" y="113222"/>
                        <a:pt x="607097" y="252749"/>
                      </a:cubicBezTo>
                      <a:cubicBezTo>
                        <a:pt x="607097" y="327578"/>
                        <a:pt x="574345" y="397786"/>
                        <a:pt x="517384" y="445421"/>
                      </a:cubicBezTo>
                      <a:cubicBezTo>
                        <a:pt x="526907" y="454753"/>
                        <a:pt x="535184" y="464617"/>
                        <a:pt x="540257" y="474215"/>
                      </a:cubicBezTo>
                      <a:cubicBezTo>
                        <a:pt x="550403" y="493412"/>
                        <a:pt x="547377" y="517673"/>
                        <a:pt x="531179" y="532870"/>
                      </a:cubicBezTo>
                      <a:lnTo>
                        <a:pt x="505814" y="559176"/>
                      </a:lnTo>
                      <a:cubicBezTo>
                        <a:pt x="474486" y="590548"/>
                        <a:pt x="438974" y="606722"/>
                        <a:pt x="401505" y="606722"/>
                      </a:cubicBezTo>
                      <a:cubicBezTo>
                        <a:pt x="375249" y="606722"/>
                        <a:pt x="346858" y="598635"/>
                        <a:pt x="318556" y="582460"/>
                      </a:cubicBezTo>
                      <a:cubicBezTo>
                        <a:pt x="301289" y="573307"/>
                        <a:pt x="285091" y="560154"/>
                        <a:pt x="268893" y="543979"/>
                      </a:cubicBezTo>
                      <a:lnTo>
                        <a:pt x="61343" y="336732"/>
                      </a:lnTo>
                      <a:cubicBezTo>
                        <a:pt x="42030" y="317536"/>
                        <a:pt x="26899" y="296296"/>
                        <a:pt x="16753" y="275056"/>
                      </a:cubicBezTo>
                      <a:cubicBezTo>
                        <a:pt x="-13596" y="210358"/>
                        <a:pt x="-2471" y="151703"/>
                        <a:pt x="48171" y="101135"/>
                      </a:cubicBezTo>
                      <a:lnTo>
                        <a:pt x="73447" y="75807"/>
                      </a:lnTo>
                      <a:cubicBezTo>
                        <a:pt x="88666" y="60699"/>
                        <a:pt x="112963" y="56611"/>
                        <a:pt x="132188" y="66742"/>
                      </a:cubicBezTo>
                      <a:cubicBezTo>
                        <a:pt x="141711" y="71719"/>
                        <a:pt x="151412" y="79895"/>
                        <a:pt x="160757" y="89315"/>
                      </a:cubicBezTo>
                      <a:cubicBezTo>
                        <a:pt x="209173" y="32971"/>
                        <a:pt x="278772" y="0"/>
                        <a:pt x="353978" y="0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latin typeface="Calibri"/>
                    <a:ea typeface="微软雅黑"/>
                    <a:cs typeface="+mn-cs"/>
                  </a:endParaRPr>
                </a:p>
              </p:txBody>
            </p:sp>
          </p:grpSp>
          <p:grpSp>
            <p:nvGrpSpPr>
              <p:cNvPr id="67" name="îsļîḑe"/>
              <p:cNvGrpSpPr>
                <a:grpSpLocks/>
              </p:cNvGrpSpPr>
              <p:nvPr/>
            </p:nvGrpSpPr>
            <p:grpSpPr>
              <a:xfrm>
                <a:off x="7324344" y="3499444"/>
                <a:ext cx="2089796" cy="2089796"/>
                <a:chOff x="7938352" y="3573016"/>
                <a:chExt cx="839888" cy="839888"/>
              </a:xfrm>
            </p:grpSpPr>
            <p:sp>
              <p:nvSpPr>
                <p:cNvPr id="68" name="iṧľiḓê"/>
                <p:cNvSpPr/>
                <p:nvPr/>
              </p:nvSpPr>
              <p:spPr>
                <a:xfrm>
                  <a:off x="7938352" y="3573016"/>
                  <a:ext cx="839888" cy="839888"/>
                </a:xfrm>
                <a:prstGeom prst="diamond">
                  <a:avLst/>
                </a:prstGeom>
                <a:solidFill>
                  <a:schemeClr val="accent3">
                    <a:alpha val="80000"/>
                  </a:schemeClr>
                </a:solidFill>
                <a:ln w="19050" cap="flat" cmpd="sng" algn="ctr">
                  <a:solidFill>
                    <a:schemeClr val="bg1"/>
                  </a:solidFill>
                  <a:prstDash val="solid"/>
                  <a:miter lim="800000"/>
                </a:ln>
                <a:effectLst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solidFill>
                      <a:srgbClr val="FFFFFF"/>
                    </a:solidFill>
                    <a:latin typeface="Calibri"/>
                    <a:ea typeface="微软雅黑"/>
                  </a:endParaRPr>
                </a:p>
              </p:txBody>
            </p:sp>
            <p:sp>
              <p:nvSpPr>
                <p:cNvPr id="69" name="íś1ïḋe"/>
                <p:cNvSpPr/>
                <p:nvPr/>
              </p:nvSpPr>
              <p:spPr bwMode="auto">
                <a:xfrm>
                  <a:off x="8157808" y="3792780"/>
                  <a:ext cx="400976" cy="400361"/>
                </a:xfrm>
                <a:custGeom>
                  <a:avLst/>
                  <a:gdLst>
                    <a:gd name="connsiteX0" fmla="*/ 325000 h 606722"/>
                    <a:gd name="connsiteY0" fmla="*/ 325000 h 606722"/>
                    <a:gd name="connsiteX1" fmla="*/ 325000 h 606722"/>
                    <a:gd name="connsiteY1" fmla="*/ 325000 h 606722"/>
                    <a:gd name="connsiteX2" fmla="*/ 325000 h 606722"/>
                    <a:gd name="connsiteY2" fmla="*/ 325000 h 606722"/>
                    <a:gd name="connsiteX3" fmla="*/ 325000 h 606722"/>
                    <a:gd name="connsiteY3" fmla="*/ 325000 h 606722"/>
                    <a:gd name="connsiteX4" fmla="*/ 325000 h 606722"/>
                    <a:gd name="connsiteY4" fmla="*/ 325000 h 606722"/>
                    <a:gd name="connsiteX5" fmla="*/ 325000 h 606722"/>
                    <a:gd name="connsiteY5" fmla="*/ 325000 h 606722"/>
                    <a:gd name="connsiteX6" fmla="*/ 325000 h 606722"/>
                    <a:gd name="connsiteY6" fmla="*/ 325000 h 606722"/>
                    <a:gd name="connsiteX7" fmla="*/ 325000 h 606722"/>
                    <a:gd name="connsiteY7" fmla="*/ 325000 h 606722"/>
                    <a:gd name="connsiteX8" fmla="*/ 325000 h 606722"/>
                    <a:gd name="connsiteY8" fmla="*/ 325000 h 606722"/>
                    <a:gd name="connsiteX9" fmla="*/ 325000 h 606722"/>
                    <a:gd name="connsiteY9" fmla="*/ 325000 h 606722"/>
                    <a:gd name="connsiteX10" fmla="*/ 325000 h 606722"/>
                    <a:gd name="connsiteY10" fmla="*/ 325000 h 606722"/>
                    <a:gd name="connsiteX11" fmla="*/ 325000 h 606722"/>
                    <a:gd name="connsiteY11" fmla="*/ 325000 h 606722"/>
                    <a:gd name="connsiteX12" fmla="*/ 325000 h 606722"/>
                    <a:gd name="connsiteY12" fmla="*/ 325000 h 606722"/>
                    <a:gd name="connsiteX13" fmla="*/ 325000 h 606722"/>
                    <a:gd name="connsiteY13" fmla="*/ 325000 h 606722"/>
                    <a:gd name="connsiteX14" fmla="*/ 325000 h 606722"/>
                    <a:gd name="connsiteY14" fmla="*/ 325000 h 606722"/>
                    <a:gd name="connsiteX15" fmla="*/ 325000 h 606722"/>
                    <a:gd name="connsiteY15" fmla="*/ 325000 h 606722"/>
                    <a:gd name="connsiteX16" fmla="*/ 325000 h 606722"/>
                    <a:gd name="connsiteY16" fmla="*/ 325000 h 606722"/>
                    <a:gd name="connsiteX17" fmla="*/ 325000 h 606722"/>
                    <a:gd name="connsiteY17" fmla="*/ 325000 h 606722"/>
                    <a:gd name="connsiteX18" fmla="*/ 325000 h 606722"/>
                    <a:gd name="connsiteY18" fmla="*/ 325000 h 606722"/>
                    <a:gd name="connsiteX19" fmla="*/ 325000 h 606722"/>
                    <a:gd name="connsiteY19" fmla="*/ 325000 h 606722"/>
                    <a:gd name="connsiteX20" fmla="*/ 325000 h 606722"/>
                    <a:gd name="connsiteY20" fmla="*/ 325000 h 606722"/>
                    <a:gd name="connsiteX21" fmla="*/ 325000 h 606722"/>
                    <a:gd name="connsiteY21" fmla="*/ 325000 h 606722"/>
                    <a:gd name="connsiteX22" fmla="*/ 325000 h 606722"/>
                    <a:gd name="connsiteY22" fmla="*/ 325000 h 606722"/>
                    <a:gd name="connsiteX23" fmla="*/ 325000 h 606722"/>
                    <a:gd name="connsiteY23" fmla="*/ 325000 h 606722"/>
                    <a:gd name="connsiteX24" fmla="*/ 325000 h 606722"/>
                    <a:gd name="connsiteY24" fmla="*/ 325000 h 606722"/>
                    <a:gd name="connsiteX25" fmla="*/ 325000 h 606722"/>
                    <a:gd name="connsiteY25" fmla="*/ 325000 h 606722"/>
                    <a:gd name="connsiteX26" fmla="*/ 325000 h 606722"/>
                    <a:gd name="connsiteY26" fmla="*/ 325000 h 606722"/>
                    <a:gd name="connsiteX27" fmla="*/ 325000 h 606722"/>
                    <a:gd name="connsiteY27" fmla="*/ 325000 h 606722"/>
                    <a:gd name="connsiteX28" fmla="*/ 325000 h 606722"/>
                    <a:gd name="connsiteY28" fmla="*/ 325000 h 606722"/>
                    <a:gd name="connsiteX29" fmla="*/ 325000 h 606722"/>
                    <a:gd name="connsiteY29" fmla="*/ 325000 h 606722"/>
                    <a:gd name="connsiteX30" fmla="*/ 325000 h 606722"/>
                    <a:gd name="connsiteY30" fmla="*/ 325000 h 606722"/>
                    <a:gd name="connsiteX31" fmla="*/ 325000 h 606722"/>
                    <a:gd name="connsiteY31" fmla="*/ 325000 h 606722"/>
                    <a:gd name="connsiteX32" fmla="*/ 325000 h 606722"/>
                    <a:gd name="connsiteY32" fmla="*/ 325000 h 606722"/>
                    <a:gd name="connsiteX33" fmla="*/ 325000 h 606722"/>
                    <a:gd name="connsiteY33" fmla="*/ 325000 h 606722"/>
                    <a:gd name="connsiteX34" fmla="*/ 325000 h 606722"/>
                    <a:gd name="connsiteY34" fmla="*/ 325000 h 606722"/>
                    <a:gd name="connsiteX35" fmla="*/ 325000 h 606722"/>
                    <a:gd name="connsiteY35" fmla="*/ 325000 h 606722"/>
                    <a:gd name="connsiteX36" fmla="*/ 325000 h 606722"/>
                    <a:gd name="connsiteY36" fmla="*/ 325000 h 606722"/>
                    <a:gd name="connsiteX37" fmla="*/ 325000 h 606722"/>
                    <a:gd name="connsiteY37" fmla="*/ 325000 h 606722"/>
                    <a:gd name="connsiteX38" fmla="*/ 325000 h 606722"/>
                    <a:gd name="connsiteY38" fmla="*/ 325000 h 606722"/>
                    <a:gd name="connsiteX39" fmla="*/ 325000 h 606722"/>
                    <a:gd name="connsiteY39" fmla="*/ 325000 h 606722"/>
                    <a:gd name="connsiteX40" fmla="*/ 325000 h 606722"/>
                    <a:gd name="connsiteY40" fmla="*/ 325000 h 606722"/>
                    <a:gd name="connsiteX41" fmla="*/ 325000 h 606722"/>
                    <a:gd name="connsiteY41" fmla="*/ 325000 h 606722"/>
                    <a:gd name="connsiteX42" fmla="*/ 325000 h 606722"/>
                    <a:gd name="connsiteY42" fmla="*/ 325000 h 606722"/>
                    <a:gd name="connsiteX43" fmla="*/ 325000 h 606722"/>
                    <a:gd name="connsiteY43" fmla="*/ 325000 h 606722"/>
                    <a:gd name="connsiteX44" fmla="*/ 325000 h 606722"/>
                    <a:gd name="connsiteY44" fmla="*/ 325000 h 606722"/>
                    <a:gd name="connsiteX45" fmla="*/ 325000 h 606722"/>
                    <a:gd name="connsiteY45" fmla="*/ 325000 h 606722"/>
                    <a:gd name="connsiteX46" fmla="*/ 325000 h 606722"/>
                    <a:gd name="connsiteY46" fmla="*/ 325000 h 606722"/>
                    <a:gd name="connsiteX47" fmla="*/ 325000 h 606722"/>
                    <a:gd name="connsiteY47" fmla="*/ 325000 h 606722"/>
                    <a:gd name="connsiteX48" fmla="*/ 325000 h 606722"/>
                    <a:gd name="connsiteY48" fmla="*/ 325000 h 606722"/>
                    <a:gd name="connsiteX49" fmla="*/ 325000 h 606722"/>
                    <a:gd name="connsiteY49" fmla="*/ 325000 h 606722"/>
                    <a:gd name="connsiteX50" fmla="*/ 325000 h 606722"/>
                    <a:gd name="connsiteY50" fmla="*/ 325000 h 606722"/>
                    <a:gd name="connsiteX51" fmla="*/ 325000 h 606722"/>
                    <a:gd name="connsiteY51" fmla="*/ 325000 h 606722"/>
                    <a:gd name="connsiteX52" fmla="*/ 325000 h 606722"/>
                    <a:gd name="connsiteY52" fmla="*/ 325000 h 606722"/>
                    <a:gd name="connsiteX53" fmla="*/ 325000 h 606722"/>
                    <a:gd name="connsiteY53" fmla="*/ 325000 h 606722"/>
                    <a:gd name="connsiteX54" fmla="*/ 325000 h 606722"/>
                    <a:gd name="connsiteY54" fmla="*/ 325000 h 606722"/>
                    <a:gd name="connsiteX55" fmla="*/ 325000 h 606722"/>
                    <a:gd name="connsiteY55" fmla="*/ 325000 h 606722"/>
                    <a:gd name="connsiteX56" fmla="*/ 325000 h 606722"/>
                    <a:gd name="connsiteY56" fmla="*/ 325000 h 606722"/>
                    <a:gd name="connsiteX57" fmla="*/ 325000 h 606722"/>
                    <a:gd name="connsiteY57" fmla="*/ 325000 h 606722"/>
                    <a:gd name="connsiteX58" fmla="*/ 325000 h 606722"/>
                    <a:gd name="connsiteY58" fmla="*/ 325000 h 606722"/>
                    <a:gd name="connsiteX59" fmla="*/ 325000 h 606722"/>
                    <a:gd name="connsiteY59" fmla="*/ 325000 h 606722"/>
                    <a:gd name="connsiteX60" fmla="*/ 325000 h 606722"/>
                    <a:gd name="connsiteY60" fmla="*/ 325000 h 606722"/>
                    <a:gd name="connsiteX61" fmla="*/ 325000 h 606722"/>
                    <a:gd name="connsiteY61" fmla="*/ 325000 h 606722"/>
                    <a:gd name="connsiteX62" fmla="*/ 325000 h 606722"/>
                    <a:gd name="connsiteY62" fmla="*/ 325000 h 606722"/>
                    <a:gd name="connsiteX63" fmla="*/ 325000 h 606722"/>
                    <a:gd name="connsiteY63" fmla="*/ 325000 h 606722"/>
                    <a:gd name="connsiteX64" fmla="*/ 325000 h 606722"/>
                    <a:gd name="connsiteY64" fmla="*/ 325000 h 606722"/>
                    <a:gd name="connsiteX65" fmla="*/ 325000 h 606722"/>
                    <a:gd name="connsiteY65" fmla="*/ 325000 h 606722"/>
                    <a:gd name="connsiteX66" fmla="*/ 325000 h 606722"/>
                    <a:gd name="connsiteY66" fmla="*/ 325000 h 606722"/>
                    <a:gd name="connsiteX67" fmla="*/ 325000 h 606722"/>
                    <a:gd name="connsiteY67" fmla="*/ 325000 h 60672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</a:cxnLst>
                  <a:rect l="l" t="t" r="r" b="b"/>
                  <a:pathLst>
                    <a:path w="607535" h="606604">
                      <a:moveTo>
                        <a:pt x="394900" y="353768"/>
                      </a:moveTo>
                      <a:cubicBezTo>
                        <a:pt x="400507" y="353768"/>
                        <a:pt x="405045" y="358301"/>
                        <a:pt x="405045" y="363900"/>
                      </a:cubicBezTo>
                      <a:lnTo>
                        <a:pt x="405045" y="515616"/>
                      </a:lnTo>
                      <a:cubicBezTo>
                        <a:pt x="405045" y="543435"/>
                        <a:pt x="382353" y="566099"/>
                        <a:pt x="354410" y="566099"/>
                      </a:cubicBezTo>
                      <a:lnTo>
                        <a:pt x="212649" y="566099"/>
                      </a:lnTo>
                      <a:cubicBezTo>
                        <a:pt x="207131" y="566099"/>
                        <a:pt x="202593" y="561566"/>
                        <a:pt x="202593" y="556056"/>
                      </a:cubicBezTo>
                      <a:cubicBezTo>
                        <a:pt x="202593" y="550457"/>
                        <a:pt x="207131" y="545924"/>
                        <a:pt x="212649" y="545924"/>
                      </a:cubicBezTo>
                      <a:lnTo>
                        <a:pt x="354410" y="545924"/>
                      </a:lnTo>
                      <a:cubicBezTo>
                        <a:pt x="371140" y="545924"/>
                        <a:pt x="384845" y="532325"/>
                        <a:pt x="384845" y="515616"/>
                      </a:cubicBezTo>
                      <a:lnTo>
                        <a:pt x="384845" y="363900"/>
                      </a:lnTo>
                      <a:cubicBezTo>
                        <a:pt x="384845" y="358301"/>
                        <a:pt x="389294" y="353768"/>
                        <a:pt x="394900" y="353768"/>
                      </a:cubicBezTo>
                      <a:close/>
                      <a:moveTo>
                        <a:pt x="131640" y="262739"/>
                      </a:moveTo>
                      <a:cubicBezTo>
                        <a:pt x="137236" y="262739"/>
                        <a:pt x="141766" y="267271"/>
                        <a:pt x="141766" y="272870"/>
                      </a:cubicBezTo>
                      <a:lnTo>
                        <a:pt x="141766" y="333565"/>
                      </a:lnTo>
                      <a:cubicBezTo>
                        <a:pt x="141766" y="339075"/>
                        <a:pt x="137236" y="343607"/>
                        <a:pt x="131640" y="343607"/>
                      </a:cubicBezTo>
                      <a:cubicBezTo>
                        <a:pt x="126044" y="343607"/>
                        <a:pt x="121514" y="339075"/>
                        <a:pt x="121514" y="333565"/>
                      </a:cubicBezTo>
                      <a:lnTo>
                        <a:pt x="121514" y="272870"/>
                      </a:lnTo>
                      <a:cubicBezTo>
                        <a:pt x="121514" y="267271"/>
                        <a:pt x="126044" y="262739"/>
                        <a:pt x="131640" y="262739"/>
                      </a:cubicBezTo>
                      <a:close/>
                      <a:moveTo>
                        <a:pt x="489057" y="194973"/>
                      </a:moveTo>
                      <a:cubicBezTo>
                        <a:pt x="492973" y="190974"/>
                        <a:pt x="499381" y="190974"/>
                        <a:pt x="503386" y="194973"/>
                      </a:cubicBezTo>
                      <a:lnTo>
                        <a:pt x="604576" y="296095"/>
                      </a:lnTo>
                      <a:cubicBezTo>
                        <a:pt x="605555" y="296983"/>
                        <a:pt x="606267" y="298138"/>
                        <a:pt x="606801" y="299383"/>
                      </a:cubicBezTo>
                      <a:cubicBezTo>
                        <a:pt x="607780" y="301871"/>
                        <a:pt x="607780" y="304625"/>
                        <a:pt x="606801" y="307113"/>
                      </a:cubicBezTo>
                      <a:cubicBezTo>
                        <a:pt x="606267" y="308357"/>
                        <a:pt x="605555" y="309424"/>
                        <a:pt x="604576" y="310401"/>
                      </a:cubicBezTo>
                      <a:lnTo>
                        <a:pt x="503386" y="411434"/>
                      </a:lnTo>
                      <a:cubicBezTo>
                        <a:pt x="501339" y="413478"/>
                        <a:pt x="498758" y="414455"/>
                        <a:pt x="496177" y="414455"/>
                      </a:cubicBezTo>
                      <a:cubicBezTo>
                        <a:pt x="493596" y="414455"/>
                        <a:pt x="491015" y="413478"/>
                        <a:pt x="489057" y="411434"/>
                      </a:cubicBezTo>
                      <a:cubicBezTo>
                        <a:pt x="485052" y="407524"/>
                        <a:pt x="485052" y="401126"/>
                        <a:pt x="489057" y="397217"/>
                      </a:cubicBezTo>
                      <a:lnTo>
                        <a:pt x="572982" y="313333"/>
                      </a:lnTo>
                      <a:lnTo>
                        <a:pt x="232921" y="313333"/>
                      </a:lnTo>
                      <a:cubicBezTo>
                        <a:pt x="227314" y="313333"/>
                        <a:pt x="222775" y="308802"/>
                        <a:pt x="222775" y="303203"/>
                      </a:cubicBezTo>
                      <a:cubicBezTo>
                        <a:pt x="222775" y="297605"/>
                        <a:pt x="227314" y="293074"/>
                        <a:pt x="232921" y="293074"/>
                      </a:cubicBezTo>
                      <a:lnTo>
                        <a:pt x="572982" y="293074"/>
                      </a:lnTo>
                      <a:lnTo>
                        <a:pt x="489057" y="209279"/>
                      </a:lnTo>
                      <a:cubicBezTo>
                        <a:pt x="485052" y="205281"/>
                        <a:pt x="485052" y="198883"/>
                        <a:pt x="489057" y="194973"/>
                      </a:cubicBezTo>
                      <a:close/>
                      <a:moveTo>
                        <a:pt x="211398" y="40317"/>
                      </a:moveTo>
                      <a:lnTo>
                        <a:pt x="354409" y="40317"/>
                      </a:lnTo>
                      <a:cubicBezTo>
                        <a:pt x="382353" y="40317"/>
                        <a:pt x="405046" y="62981"/>
                        <a:pt x="405046" y="90889"/>
                      </a:cubicBezTo>
                      <a:lnTo>
                        <a:pt x="405046" y="242605"/>
                      </a:lnTo>
                      <a:cubicBezTo>
                        <a:pt x="405046" y="248115"/>
                        <a:pt x="400508" y="252648"/>
                        <a:pt x="394901" y="252648"/>
                      </a:cubicBezTo>
                      <a:cubicBezTo>
                        <a:pt x="389295" y="252648"/>
                        <a:pt x="384845" y="248115"/>
                        <a:pt x="384845" y="242605"/>
                      </a:cubicBezTo>
                      <a:lnTo>
                        <a:pt x="384845" y="90889"/>
                      </a:lnTo>
                      <a:cubicBezTo>
                        <a:pt x="384845" y="74180"/>
                        <a:pt x="371140" y="60581"/>
                        <a:pt x="354409" y="60581"/>
                      </a:cubicBezTo>
                      <a:lnTo>
                        <a:pt x="211398" y="60581"/>
                      </a:lnTo>
                      <a:cubicBezTo>
                        <a:pt x="205791" y="60581"/>
                        <a:pt x="201253" y="56048"/>
                        <a:pt x="201253" y="50449"/>
                      </a:cubicBezTo>
                      <a:cubicBezTo>
                        <a:pt x="201253" y="44850"/>
                        <a:pt x="205791" y="40317"/>
                        <a:pt x="211398" y="40317"/>
                      </a:cubicBezTo>
                      <a:close/>
                      <a:moveTo>
                        <a:pt x="147115" y="20146"/>
                      </a:moveTo>
                      <a:cubicBezTo>
                        <a:pt x="144890" y="20146"/>
                        <a:pt x="142576" y="20590"/>
                        <a:pt x="140084" y="21568"/>
                      </a:cubicBezTo>
                      <a:lnTo>
                        <a:pt x="44232" y="59782"/>
                      </a:lnTo>
                      <a:cubicBezTo>
                        <a:pt x="24919" y="66981"/>
                        <a:pt x="20292" y="73024"/>
                        <a:pt x="20292" y="90887"/>
                      </a:cubicBezTo>
                      <a:lnTo>
                        <a:pt x="20292" y="515689"/>
                      </a:lnTo>
                      <a:cubicBezTo>
                        <a:pt x="20292" y="533464"/>
                        <a:pt x="24919" y="539596"/>
                        <a:pt x="44054" y="546616"/>
                      </a:cubicBezTo>
                      <a:lnTo>
                        <a:pt x="140262" y="585098"/>
                      </a:lnTo>
                      <a:cubicBezTo>
                        <a:pt x="142576" y="585897"/>
                        <a:pt x="144890" y="586431"/>
                        <a:pt x="147115" y="586431"/>
                      </a:cubicBezTo>
                      <a:cubicBezTo>
                        <a:pt x="156015" y="586431"/>
                        <a:pt x="161978" y="578254"/>
                        <a:pt x="161978" y="566257"/>
                      </a:cubicBezTo>
                      <a:lnTo>
                        <a:pt x="161978" y="40319"/>
                      </a:lnTo>
                      <a:cubicBezTo>
                        <a:pt x="161978" y="28233"/>
                        <a:pt x="156015" y="20146"/>
                        <a:pt x="147115" y="20146"/>
                      </a:cubicBezTo>
                      <a:close/>
                      <a:moveTo>
                        <a:pt x="151669" y="315"/>
                      </a:moveTo>
                      <a:cubicBezTo>
                        <a:pt x="169354" y="2727"/>
                        <a:pt x="182270" y="18724"/>
                        <a:pt x="182270" y="40319"/>
                      </a:cubicBezTo>
                      <a:lnTo>
                        <a:pt x="182270" y="566257"/>
                      </a:lnTo>
                      <a:cubicBezTo>
                        <a:pt x="182270" y="589630"/>
                        <a:pt x="167496" y="606604"/>
                        <a:pt x="147115" y="606604"/>
                      </a:cubicBezTo>
                      <a:cubicBezTo>
                        <a:pt x="142487" y="606604"/>
                        <a:pt x="137681" y="605716"/>
                        <a:pt x="132964" y="603938"/>
                      </a:cubicBezTo>
                      <a:lnTo>
                        <a:pt x="36756" y="565457"/>
                      </a:lnTo>
                      <a:cubicBezTo>
                        <a:pt x="10057" y="555592"/>
                        <a:pt x="0" y="542084"/>
                        <a:pt x="0" y="515689"/>
                      </a:cubicBezTo>
                      <a:lnTo>
                        <a:pt x="0" y="90887"/>
                      </a:lnTo>
                      <a:cubicBezTo>
                        <a:pt x="0" y="64492"/>
                        <a:pt x="10057" y="50895"/>
                        <a:pt x="37023" y="40942"/>
                      </a:cubicBezTo>
                      <a:lnTo>
                        <a:pt x="132697" y="2727"/>
                      </a:lnTo>
                      <a:cubicBezTo>
                        <a:pt x="139350" y="217"/>
                        <a:pt x="145774" y="-489"/>
                        <a:pt x="151669" y="315"/>
                      </a:cubicBezTo>
                      <a:close/>
                    </a:path>
                  </a:pathLst>
                </a:custGeom>
                <a:solidFill>
                  <a:schemeClr val="bg1"/>
                </a:solidFill>
                <a:ln>
                  <a:noFill/>
                </a:ln>
              </p:spPr>
              <p:txBody>
                <a:bodyPr anchor="ctr"/>
                <a:lstStyle/>
                <a:p>
                  <a:pPr algn="ctr" defTabSz="685800">
                    <a:buClrTx/>
                  </a:pPr>
                  <a:endParaRPr sz="1350" kern="1200">
                    <a:latin typeface="Calibri"/>
                    <a:ea typeface="微软雅黑"/>
                    <a:cs typeface="+mn-cs"/>
                  </a:endParaRPr>
                </a:p>
              </p:txBody>
            </p:sp>
          </p:grpSp>
        </p:grpSp>
        <p:cxnSp>
          <p:nvCxnSpPr>
            <p:cNvPr id="47" name="直接连接符 6"/>
            <p:cNvCxnSpPr>
              <a:stCxn id="64" idx="1"/>
            </p:cNvCxnSpPr>
            <p:nvPr/>
          </p:nvCxnSpPr>
          <p:spPr>
            <a:xfrm flipH="1">
              <a:off x="2913267" y="3617636"/>
              <a:ext cx="1054828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直接连接符 7"/>
            <p:cNvCxnSpPr>
              <a:stCxn id="65" idx="3"/>
            </p:cNvCxnSpPr>
            <p:nvPr/>
          </p:nvCxnSpPr>
          <p:spPr>
            <a:xfrm>
              <a:off x="8223905" y="3617636"/>
              <a:ext cx="1109849" cy="0"/>
            </a:xfrm>
            <a:prstGeom prst="line">
              <a:avLst/>
            </a:prstGeom>
            <a:ln w="3175" cap="rnd">
              <a:solidFill>
                <a:schemeClr val="bg1">
                  <a:lumMod val="85000"/>
                </a:schemeClr>
              </a:solidFill>
              <a:round/>
              <a:headEnd type="none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0" name="íṧḷíde"/>
            <p:cNvSpPr/>
            <p:nvPr/>
          </p:nvSpPr>
          <p:spPr>
            <a:xfrm>
              <a:off x="968399" y="1631143"/>
              <a:ext cx="504056" cy="504056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>
                <a:buClrTx/>
              </a:pPr>
              <a:endParaRPr sz="1350" kern="1200">
                <a:solidFill>
                  <a:srgbClr val="FFFFFF"/>
                </a:solidFill>
                <a:latin typeface="Calibri"/>
                <a:ea typeface="微软雅黑"/>
              </a:endParaRPr>
            </a:p>
          </p:txBody>
        </p:sp>
        <p:sp>
          <p:nvSpPr>
            <p:cNvPr id="51" name="ïṧlidè"/>
            <p:cNvSpPr/>
            <p:nvPr/>
          </p:nvSpPr>
          <p:spPr bwMode="auto">
            <a:xfrm>
              <a:off x="1064898" y="1727738"/>
              <a:ext cx="311058" cy="310865"/>
            </a:xfrm>
            <a:custGeom>
              <a:avLst/>
              <a:gdLst>
                <a:gd name="connsiteX0" fmla="*/ 482620 w 607097"/>
                <a:gd name="connsiteY0" fmla="*/ 381169 h 606722"/>
                <a:gd name="connsiteX1" fmla="*/ 496768 w 607097"/>
                <a:gd name="connsiteY1" fmla="*/ 381169 h 606722"/>
                <a:gd name="connsiteX2" fmla="*/ 510916 w 607097"/>
                <a:gd name="connsiteY2" fmla="*/ 395381 h 606722"/>
                <a:gd name="connsiteX3" fmla="*/ 510916 w 607097"/>
                <a:gd name="connsiteY3" fmla="*/ 409505 h 606722"/>
                <a:gd name="connsiteX4" fmla="*/ 503887 w 607097"/>
                <a:gd name="connsiteY4" fmla="*/ 412525 h 606722"/>
                <a:gd name="connsiteX5" fmla="*/ 496768 w 607097"/>
                <a:gd name="connsiteY5" fmla="*/ 409505 h 606722"/>
                <a:gd name="connsiteX6" fmla="*/ 482620 w 607097"/>
                <a:gd name="connsiteY6" fmla="*/ 395381 h 606722"/>
                <a:gd name="connsiteX7" fmla="*/ 482620 w 607097"/>
                <a:gd name="connsiteY7" fmla="*/ 381169 h 606722"/>
                <a:gd name="connsiteX8" fmla="*/ 546398 w 607097"/>
                <a:gd name="connsiteY8" fmla="*/ 242745 h 606722"/>
                <a:gd name="connsiteX9" fmla="*/ 566606 w 607097"/>
                <a:gd name="connsiteY9" fmla="*/ 242745 h 606722"/>
                <a:gd name="connsiteX10" fmla="*/ 576754 w 607097"/>
                <a:gd name="connsiteY10" fmla="*/ 252756 h 606722"/>
                <a:gd name="connsiteX11" fmla="*/ 566606 w 607097"/>
                <a:gd name="connsiteY11" fmla="*/ 262856 h 606722"/>
                <a:gd name="connsiteX12" fmla="*/ 546398 w 607097"/>
                <a:gd name="connsiteY12" fmla="*/ 262856 h 606722"/>
                <a:gd name="connsiteX13" fmla="*/ 536249 w 607097"/>
                <a:gd name="connsiteY13" fmla="*/ 252756 h 606722"/>
                <a:gd name="connsiteX14" fmla="*/ 546398 w 607097"/>
                <a:gd name="connsiteY14" fmla="*/ 242745 h 606722"/>
                <a:gd name="connsiteX15" fmla="*/ 353968 w 607097"/>
                <a:gd name="connsiteY15" fmla="*/ 101120 h 606722"/>
                <a:gd name="connsiteX16" fmla="*/ 364118 w 607097"/>
                <a:gd name="connsiteY16" fmla="*/ 111251 h 606722"/>
                <a:gd name="connsiteX17" fmla="*/ 364118 w 607097"/>
                <a:gd name="connsiteY17" fmla="*/ 242683 h 606722"/>
                <a:gd name="connsiteX18" fmla="*/ 424838 w 607097"/>
                <a:gd name="connsiteY18" fmla="*/ 242683 h 606722"/>
                <a:gd name="connsiteX19" fmla="*/ 434988 w 607097"/>
                <a:gd name="connsiteY19" fmla="*/ 252725 h 606722"/>
                <a:gd name="connsiteX20" fmla="*/ 424838 w 607097"/>
                <a:gd name="connsiteY20" fmla="*/ 262856 h 606722"/>
                <a:gd name="connsiteX21" fmla="*/ 353968 w 607097"/>
                <a:gd name="connsiteY21" fmla="*/ 262856 h 606722"/>
                <a:gd name="connsiteX22" fmla="*/ 343818 w 607097"/>
                <a:gd name="connsiteY22" fmla="*/ 252725 h 606722"/>
                <a:gd name="connsiteX23" fmla="*/ 343818 w 607097"/>
                <a:gd name="connsiteY23" fmla="*/ 111251 h 606722"/>
                <a:gd name="connsiteX24" fmla="*/ 353968 w 607097"/>
                <a:gd name="connsiteY24" fmla="*/ 101120 h 606722"/>
                <a:gd name="connsiteX25" fmla="*/ 496768 w 607097"/>
                <a:gd name="connsiteY25" fmla="*/ 96101 h 606722"/>
                <a:gd name="connsiteX26" fmla="*/ 510916 w 607097"/>
                <a:gd name="connsiteY26" fmla="*/ 96101 h 606722"/>
                <a:gd name="connsiteX27" fmla="*/ 510916 w 607097"/>
                <a:gd name="connsiteY27" fmla="*/ 110217 h 606722"/>
                <a:gd name="connsiteX28" fmla="*/ 496768 w 607097"/>
                <a:gd name="connsiteY28" fmla="*/ 124334 h 606722"/>
                <a:gd name="connsiteX29" fmla="*/ 489650 w 607097"/>
                <a:gd name="connsiteY29" fmla="*/ 127441 h 606722"/>
                <a:gd name="connsiteX30" fmla="*/ 482620 w 607097"/>
                <a:gd name="connsiteY30" fmla="*/ 124334 h 606722"/>
                <a:gd name="connsiteX31" fmla="*/ 482620 w 607097"/>
                <a:gd name="connsiteY31" fmla="*/ 110217 h 606722"/>
                <a:gd name="connsiteX32" fmla="*/ 196955 w 607097"/>
                <a:gd name="connsiteY32" fmla="*/ 96101 h 606722"/>
                <a:gd name="connsiteX33" fmla="*/ 211110 w 607097"/>
                <a:gd name="connsiteY33" fmla="*/ 96101 h 606722"/>
                <a:gd name="connsiteX34" fmla="*/ 225355 w 607097"/>
                <a:gd name="connsiteY34" fmla="*/ 110217 h 606722"/>
                <a:gd name="connsiteX35" fmla="*/ 225355 w 607097"/>
                <a:gd name="connsiteY35" fmla="*/ 124334 h 606722"/>
                <a:gd name="connsiteX36" fmla="*/ 218233 w 607097"/>
                <a:gd name="connsiteY36" fmla="*/ 127441 h 606722"/>
                <a:gd name="connsiteX37" fmla="*/ 211110 w 607097"/>
                <a:gd name="connsiteY37" fmla="*/ 124334 h 606722"/>
                <a:gd name="connsiteX38" fmla="*/ 196955 w 607097"/>
                <a:gd name="connsiteY38" fmla="*/ 110217 h 606722"/>
                <a:gd name="connsiteX39" fmla="*/ 196955 w 607097"/>
                <a:gd name="connsiteY39" fmla="*/ 96101 h 606722"/>
                <a:gd name="connsiteX40" fmla="*/ 103963 w 607097"/>
                <a:gd name="connsiteY40" fmla="*/ 81761 h 606722"/>
                <a:gd name="connsiteX41" fmla="*/ 87598 w 607097"/>
                <a:gd name="connsiteY41" fmla="*/ 90026 h 606722"/>
                <a:gd name="connsiteX42" fmla="*/ 62322 w 607097"/>
                <a:gd name="connsiteY42" fmla="*/ 115266 h 606722"/>
                <a:gd name="connsiteX43" fmla="*/ 34998 w 607097"/>
                <a:gd name="connsiteY43" fmla="*/ 265902 h 606722"/>
                <a:gd name="connsiteX44" fmla="*/ 75494 w 607097"/>
                <a:gd name="connsiteY44" fmla="*/ 322602 h 606722"/>
                <a:gd name="connsiteX45" fmla="*/ 283044 w 607097"/>
                <a:gd name="connsiteY45" fmla="*/ 530826 h 606722"/>
                <a:gd name="connsiteX46" fmla="*/ 327634 w 607097"/>
                <a:gd name="connsiteY46" fmla="*/ 565219 h 606722"/>
                <a:gd name="connsiteX47" fmla="*/ 490684 w 607097"/>
                <a:gd name="connsiteY47" fmla="*/ 545046 h 606722"/>
                <a:gd name="connsiteX48" fmla="*/ 515960 w 607097"/>
                <a:gd name="connsiteY48" fmla="*/ 519717 h 606722"/>
                <a:gd name="connsiteX49" fmla="*/ 521033 w 607097"/>
                <a:gd name="connsiteY49" fmla="*/ 485324 h 606722"/>
                <a:gd name="connsiteX50" fmla="*/ 434969 w 607097"/>
                <a:gd name="connsiteY50" fmla="*/ 411561 h 606722"/>
                <a:gd name="connsiteX51" fmla="*/ 414321 w 607097"/>
                <a:gd name="connsiteY51" fmla="*/ 406318 h 606722"/>
                <a:gd name="connsiteX52" fmla="*/ 413698 w 607097"/>
                <a:gd name="connsiteY52" fmla="*/ 406496 h 606722"/>
                <a:gd name="connsiteX53" fmla="*/ 405599 w 607097"/>
                <a:gd name="connsiteY53" fmla="*/ 413605 h 606722"/>
                <a:gd name="connsiteX54" fmla="*/ 404620 w 607097"/>
                <a:gd name="connsiteY54" fmla="*/ 414583 h 606722"/>
                <a:gd name="connsiteX55" fmla="*/ 373202 w 607097"/>
                <a:gd name="connsiteY55" fmla="*/ 447910 h 606722"/>
                <a:gd name="connsiteX56" fmla="*/ 349528 w 607097"/>
                <a:gd name="connsiteY56" fmla="*/ 459552 h 606722"/>
                <a:gd name="connsiteX57" fmla="*/ 405599 w 607097"/>
                <a:gd name="connsiteY57" fmla="*/ 475282 h 606722"/>
                <a:gd name="connsiteX58" fmla="*/ 414677 w 607097"/>
                <a:gd name="connsiteY58" fmla="*/ 486391 h 606722"/>
                <a:gd name="connsiteX59" fmla="*/ 404620 w 607097"/>
                <a:gd name="connsiteY59" fmla="*/ 495456 h 606722"/>
                <a:gd name="connsiteX60" fmla="*/ 403552 w 607097"/>
                <a:gd name="connsiteY60" fmla="*/ 495456 h 606722"/>
                <a:gd name="connsiteX61" fmla="*/ 287138 w 607097"/>
                <a:gd name="connsiteY61" fmla="*/ 441866 h 606722"/>
                <a:gd name="connsiteX62" fmla="*/ 286426 w 607097"/>
                <a:gd name="connsiteY62" fmla="*/ 441067 h 606722"/>
                <a:gd name="connsiteX63" fmla="*/ 284112 w 607097"/>
                <a:gd name="connsiteY63" fmla="*/ 438845 h 606722"/>
                <a:gd name="connsiteX64" fmla="*/ 176777 w 607097"/>
                <a:gd name="connsiteY64" fmla="*/ 331666 h 606722"/>
                <a:gd name="connsiteX65" fmla="*/ 111895 w 607097"/>
                <a:gd name="connsiteY65" fmla="*/ 213379 h 606722"/>
                <a:gd name="connsiteX66" fmla="*/ 121062 w 607097"/>
                <a:gd name="connsiteY66" fmla="*/ 202270 h 606722"/>
                <a:gd name="connsiteX67" fmla="*/ 132188 w 607097"/>
                <a:gd name="connsiteY67" fmla="*/ 211335 h 606722"/>
                <a:gd name="connsiteX68" fmla="*/ 146428 w 607097"/>
                <a:gd name="connsiteY68" fmla="*/ 259325 h 606722"/>
                <a:gd name="connsiteX69" fmla="*/ 158532 w 607097"/>
                <a:gd name="connsiteY69" fmla="*/ 233553 h 606722"/>
                <a:gd name="connsiteX70" fmla="*/ 191907 w 607097"/>
                <a:gd name="connsiteY70" fmla="*/ 202270 h 606722"/>
                <a:gd name="connsiteX71" fmla="*/ 192975 w 607097"/>
                <a:gd name="connsiteY71" fmla="*/ 201204 h 606722"/>
                <a:gd name="connsiteX72" fmla="*/ 200006 w 607097"/>
                <a:gd name="connsiteY72" fmla="*/ 193117 h 606722"/>
                <a:gd name="connsiteX73" fmla="*/ 194933 w 607097"/>
                <a:gd name="connsiteY73" fmla="*/ 170899 h 606722"/>
                <a:gd name="connsiteX74" fmla="*/ 121062 w 607097"/>
                <a:gd name="connsiteY74" fmla="*/ 84961 h 606722"/>
                <a:gd name="connsiteX75" fmla="*/ 103963 w 607097"/>
                <a:gd name="connsiteY75" fmla="*/ 81761 h 606722"/>
                <a:gd name="connsiteX76" fmla="*/ 353980 w 607097"/>
                <a:gd name="connsiteY76" fmla="*/ 30273 h 606722"/>
                <a:gd name="connsiteX77" fmla="*/ 364141 w 607097"/>
                <a:gd name="connsiteY77" fmla="*/ 40422 h 606722"/>
                <a:gd name="connsiteX78" fmla="*/ 364141 w 607097"/>
                <a:gd name="connsiteY78" fmla="*/ 60719 h 606722"/>
                <a:gd name="connsiteX79" fmla="*/ 353980 w 607097"/>
                <a:gd name="connsiteY79" fmla="*/ 70778 h 606722"/>
                <a:gd name="connsiteX80" fmla="*/ 343818 w 607097"/>
                <a:gd name="connsiteY80" fmla="*/ 60719 h 606722"/>
                <a:gd name="connsiteX81" fmla="*/ 343818 w 607097"/>
                <a:gd name="connsiteY81" fmla="*/ 40422 h 606722"/>
                <a:gd name="connsiteX82" fmla="*/ 353980 w 607097"/>
                <a:gd name="connsiteY82" fmla="*/ 30273 h 606722"/>
                <a:gd name="connsiteX83" fmla="*/ 353978 w 607097"/>
                <a:gd name="connsiteY83" fmla="*/ 20263 h 606722"/>
                <a:gd name="connsiteX84" fmla="*/ 174819 w 607097"/>
                <a:gd name="connsiteY84" fmla="*/ 104957 h 606722"/>
                <a:gd name="connsiteX85" fmla="*/ 214246 w 607097"/>
                <a:gd name="connsiteY85" fmla="*/ 160768 h 606722"/>
                <a:gd name="connsiteX86" fmla="*/ 221278 w 607097"/>
                <a:gd name="connsiteY86" fmla="*/ 198182 h 606722"/>
                <a:gd name="connsiteX87" fmla="*/ 215938 w 607097"/>
                <a:gd name="connsiteY87" fmla="*/ 209025 h 606722"/>
                <a:gd name="connsiteX88" fmla="*/ 210152 w 607097"/>
                <a:gd name="connsiteY88" fmla="*/ 215157 h 606722"/>
                <a:gd name="connsiteX89" fmla="*/ 206147 w 607097"/>
                <a:gd name="connsiteY89" fmla="*/ 218445 h 606722"/>
                <a:gd name="connsiteX90" fmla="*/ 176777 w 607097"/>
                <a:gd name="connsiteY90" fmla="*/ 244662 h 606722"/>
                <a:gd name="connsiteX91" fmla="*/ 182829 w 607097"/>
                <a:gd name="connsiteY91" fmla="*/ 308382 h 606722"/>
                <a:gd name="connsiteX92" fmla="*/ 189504 w 607097"/>
                <a:gd name="connsiteY92" fmla="*/ 315136 h 606722"/>
                <a:gd name="connsiteX93" fmla="*/ 189949 w 607097"/>
                <a:gd name="connsiteY93" fmla="*/ 315492 h 606722"/>
                <a:gd name="connsiteX94" fmla="*/ 191640 w 607097"/>
                <a:gd name="connsiteY94" fmla="*/ 317269 h 606722"/>
                <a:gd name="connsiteX95" fmla="*/ 298263 w 607097"/>
                <a:gd name="connsiteY95" fmla="*/ 424714 h 606722"/>
                <a:gd name="connsiteX96" fmla="*/ 362077 w 607097"/>
                <a:gd name="connsiteY96" fmla="*/ 430758 h 606722"/>
                <a:gd name="connsiteX97" fmla="*/ 388422 w 607097"/>
                <a:gd name="connsiteY97" fmla="*/ 401430 h 606722"/>
                <a:gd name="connsiteX98" fmla="*/ 408625 w 607097"/>
                <a:gd name="connsiteY98" fmla="*/ 386233 h 606722"/>
                <a:gd name="connsiteX99" fmla="*/ 419661 w 607097"/>
                <a:gd name="connsiteY99" fmla="*/ 384900 h 606722"/>
                <a:gd name="connsiteX100" fmla="*/ 446094 w 607097"/>
                <a:gd name="connsiteY100" fmla="*/ 392365 h 606722"/>
                <a:gd name="connsiteX101" fmla="*/ 501987 w 607097"/>
                <a:gd name="connsiteY101" fmla="*/ 431646 h 606722"/>
                <a:gd name="connsiteX102" fmla="*/ 586894 w 607097"/>
                <a:gd name="connsiteY102" fmla="*/ 252749 h 606722"/>
                <a:gd name="connsiteX103" fmla="*/ 353978 w 607097"/>
                <a:gd name="connsiteY103" fmla="*/ 20263 h 606722"/>
                <a:gd name="connsiteX104" fmla="*/ 353978 w 607097"/>
                <a:gd name="connsiteY104" fmla="*/ 0 h 606722"/>
                <a:gd name="connsiteX105" fmla="*/ 607097 w 607097"/>
                <a:gd name="connsiteY105" fmla="*/ 252749 h 606722"/>
                <a:gd name="connsiteX106" fmla="*/ 517384 w 607097"/>
                <a:gd name="connsiteY106" fmla="*/ 445421 h 606722"/>
                <a:gd name="connsiteX107" fmla="*/ 540257 w 607097"/>
                <a:gd name="connsiteY107" fmla="*/ 474215 h 606722"/>
                <a:gd name="connsiteX108" fmla="*/ 531179 w 607097"/>
                <a:gd name="connsiteY108" fmla="*/ 532870 h 606722"/>
                <a:gd name="connsiteX109" fmla="*/ 505814 w 607097"/>
                <a:gd name="connsiteY109" fmla="*/ 559176 h 606722"/>
                <a:gd name="connsiteX110" fmla="*/ 401505 w 607097"/>
                <a:gd name="connsiteY110" fmla="*/ 606722 h 606722"/>
                <a:gd name="connsiteX111" fmla="*/ 318556 w 607097"/>
                <a:gd name="connsiteY111" fmla="*/ 582460 h 606722"/>
                <a:gd name="connsiteX112" fmla="*/ 268893 w 607097"/>
                <a:gd name="connsiteY112" fmla="*/ 543979 h 606722"/>
                <a:gd name="connsiteX113" fmla="*/ 61343 w 607097"/>
                <a:gd name="connsiteY113" fmla="*/ 336732 h 606722"/>
                <a:gd name="connsiteX114" fmla="*/ 16753 w 607097"/>
                <a:gd name="connsiteY114" fmla="*/ 275056 h 606722"/>
                <a:gd name="connsiteX115" fmla="*/ 48171 w 607097"/>
                <a:gd name="connsiteY115" fmla="*/ 101135 h 606722"/>
                <a:gd name="connsiteX116" fmla="*/ 73447 w 607097"/>
                <a:gd name="connsiteY116" fmla="*/ 75807 h 606722"/>
                <a:gd name="connsiteX117" fmla="*/ 132188 w 607097"/>
                <a:gd name="connsiteY117" fmla="*/ 66742 h 606722"/>
                <a:gd name="connsiteX118" fmla="*/ 160757 w 607097"/>
                <a:gd name="connsiteY118" fmla="*/ 89315 h 606722"/>
                <a:gd name="connsiteX119" fmla="*/ 353978 w 607097"/>
                <a:gd name="connsiteY119" fmla="*/ 0 h 6067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</a:cxnLst>
              <a:rect l="l" t="t" r="r" b="b"/>
              <a:pathLst>
                <a:path w="607097" h="606722">
                  <a:moveTo>
                    <a:pt x="482620" y="381169"/>
                  </a:moveTo>
                  <a:cubicBezTo>
                    <a:pt x="486624" y="377172"/>
                    <a:pt x="492675" y="377172"/>
                    <a:pt x="496768" y="381169"/>
                  </a:cubicBezTo>
                  <a:lnTo>
                    <a:pt x="510916" y="395381"/>
                  </a:lnTo>
                  <a:cubicBezTo>
                    <a:pt x="515009" y="399379"/>
                    <a:pt x="515009" y="405419"/>
                    <a:pt x="510916" y="409505"/>
                  </a:cubicBezTo>
                  <a:cubicBezTo>
                    <a:pt x="509937" y="412525"/>
                    <a:pt x="506912" y="412525"/>
                    <a:pt x="503887" y="412525"/>
                  </a:cubicBezTo>
                  <a:cubicBezTo>
                    <a:pt x="500861" y="412525"/>
                    <a:pt x="498815" y="411548"/>
                    <a:pt x="496768" y="409505"/>
                  </a:cubicBezTo>
                  <a:lnTo>
                    <a:pt x="482620" y="395381"/>
                  </a:lnTo>
                  <a:cubicBezTo>
                    <a:pt x="478527" y="391295"/>
                    <a:pt x="478527" y="385255"/>
                    <a:pt x="482620" y="381169"/>
                  </a:cubicBezTo>
                  <a:close/>
                  <a:moveTo>
                    <a:pt x="546398" y="242745"/>
                  </a:moveTo>
                  <a:lnTo>
                    <a:pt x="566606" y="242745"/>
                  </a:lnTo>
                  <a:cubicBezTo>
                    <a:pt x="572659" y="242745"/>
                    <a:pt x="576754" y="246732"/>
                    <a:pt x="576754" y="252756"/>
                  </a:cubicBezTo>
                  <a:cubicBezTo>
                    <a:pt x="576754" y="258869"/>
                    <a:pt x="572659" y="262856"/>
                    <a:pt x="566606" y="262856"/>
                  </a:cubicBezTo>
                  <a:lnTo>
                    <a:pt x="546398" y="262856"/>
                  </a:lnTo>
                  <a:cubicBezTo>
                    <a:pt x="540255" y="262856"/>
                    <a:pt x="536249" y="258869"/>
                    <a:pt x="536249" y="252756"/>
                  </a:cubicBezTo>
                  <a:cubicBezTo>
                    <a:pt x="536249" y="246732"/>
                    <a:pt x="540255" y="242745"/>
                    <a:pt x="546398" y="242745"/>
                  </a:cubicBezTo>
                  <a:close/>
                  <a:moveTo>
                    <a:pt x="353968" y="101120"/>
                  </a:moveTo>
                  <a:cubicBezTo>
                    <a:pt x="360022" y="101120"/>
                    <a:pt x="364118" y="105119"/>
                    <a:pt x="364118" y="111251"/>
                  </a:cubicBezTo>
                  <a:lnTo>
                    <a:pt x="364118" y="242683"/>
                  </a:lnTo>
                  <a:lnTo>
                    <a:pt x="424838" y="242683"/>
                  </a:lnTo>
                  <a:cubicBezTo>
                    <a:pt x="430893" y="242683"/>
                    <a:pt x="434988" y="246682"/>
                    <a:pt x="434988" y="252725"/>
                  </a:cubicBezTo>
                  <a:cubicBezTo>
                    <a:pt x="434988" y="258857"/>
                    <a:pt x="430893" y="262856"/>
                    <a:pt x="424838" y="262856"/>
                  </a:cubicBezTo>
                  <a:lnTo>
                    <a:pt x="353968" y="262856"/>
                  </a:lnTo>
                  <a:cubicBezTo>
                    <a:pt x="347825" y="262856"/>
                    <a:pt x="343818" y="258857"/>
                    <a:pt x="343818" y="252725"/>
                  </a:cubicBezTo>
                  <a:lnTo>
                    <a:pt x="343818" y="111251"/>
                  </a:lnTo>
                  <a:cubicBezTo>
                    <a:pt x="343818" y="105119"/>
                    <a:pt x="347825" y="101120"/>
                    <a:pt x="353968" y="101120"/>
                  </a:cubicBezTo>
                  <a:close/>
                  <a:moveTo>
                    <a:pt x="496768" y="96101"/>
                  </a:moveTo>
                  <a:cubicBezTo>
                    <a:pt x="500861" y="92017"/>
                    <a:pt x="506912" y="92017"/>
                    <a:pt x="510916" y="96101"/>
                  </a:cubicBezTo>
                  <a:cubicBezTo>
                    <a:pt x="515009" y="100096"/>
                    <a:pt x="515009" y="106222"/>
                    <a:pt x="510916" y="110217"/>
                  </a:cubicBezTo>
                  <a:lnTo>
                    <a:pt x="496768" y="124334"/>
                  </a:lnTo>
                  <a:cubicBezTo>
                    <a:pt x="494722" y="126376"/>
                    <a:pt x="492675" y="127441"/>
                    <a:pt x="489650" y="127441"/>
                  </a:cubicBezTo>
                  <a:cubicBezTo>
                    <a:pt x="486624" y="127441"/>
                    <a:pt x="484578" y="126376"/>
                    <a:pt x="482620" y="124334"/>
                  </a:cubicBezTo>
                  <a:cubicBezTo>
                    <a:pt x="478527" y="120338"/>
                    <a:pt x="478527" y="114301"/>
                    <a:pt x="482620" y="110217"/>
                  </a:cubicBezTo>
                  <a:close/>
                  <a:moveTo>
                    <a:pt x="196955" y="96101"/>
                  </a:moveTo>
                  <a:cubicBezTo>
                    <a:pt x="201050" y="92017"/>
                    <a:pt x="207104" y="92017"/>
                    <a:pt x="211110" y="96101"/>
                  </a:cubicBezTo>
                  <a:lnTo>
                    <a:pt x="225355" y="110217"/>
                  </a:lnTo>
                  <a:cubicBezTo>
                    <a:pt x="229361" y="114301"/>
                    <a:pt x="229361" y="120338"/>
                    <a:pt x="225355" y="124334"/>
                  </a:cubicBezTo>
                  <a:cubicBezTo>
                    <a:pt x="223307" y="126376"/>
                    <a:pt x="220280" y="127441"/>
                    <a:pt x="218233" y="127441"/>
                  </a:cubicBezTo>
                  <a:cubicBezTo>
                    <a:pt x="215206" y="127441"/>
                    <a:pt x="213158" y="126376"/>
                    <a:pt x="211110" y="124334"/>
                  </a:cubicBezTo>
                  <a:lnTo>
                    <a:pt x="196955" y="110217"/>
                  </a:lnTo>
                  <a:cubicBezTo>
                    <a:pt x="192949" y="106222"/>
                    <a:pt x="192949" y="100096"/>
                    <a:pt x="196955" y="96101"/>
                  </a:cubicBezTo>
                  <a:close/>
                  <a:moveTo>
                    <a:pt x="103963" y="81761"/>
                  </a:moveTo>
                  <a:cubicBezTo>
                    <a:pt x="98011" y="82650"/>
                    <a:pt x="92182" y="85449"/>
                    <a:pt x="87598" y="90026"/>
                  </a:cubicBezTo>
                  <a:lnTo>
                    <a:pt x="62322" y="115266"/>
                  </a:lnTo>
                  <a:cubicBezTo>
                    <a:pt x="17732" y="159790"/>
                    <a:pt x="8654" y="209291"/>
                    <a:pt x="34998" y="265902"/>
                  </a:cubicBezTo>
                  <a:cubicBezTo>
                    <a:pt x="44077" y="285187"/>
                    <a:pt x="57249" y="304383"/>
                    <a:pt x="75494" y="322602"/>
                  </a:cubicBezTo>
                  <a:lnTo>
                    <a:pt x="283044" y="530826"/>
                  </a:lnTo>
                  <a:cubicBezTo>
                    <a:pt x="297284" y="545046"/>
                    <a:pt x="312415" y="557132"/>
                    <a:pt x="327634" y="565219"/>
                  </a:cubicBezTo>
                  <a:cubicBezTo>
                    <a:pt x="389401" y="599612"/>
                    <a:pt x="443068" y="592503"/>
                    <a:pt x="490684" y="545046"/>
                  </a:cubicBezTo>
                  <a:lnTo>
                    <a:pt x="515960" y="519717"/>
                  </a:lnTo>
                  <a:cubicBezTo>
                    <a:pt x="525127" y="510653"/>
                    <a:pt x="527085" y="496433"/>
                    <a:pt x="521033" y="485324"/>
                  </a:cubicBezTo>
                  <a:cubicBezTo>
                    <a:pt x="503856" y="451998"/>
                    <a:pt x="434969" y="411561"/>
                    <a:pt x="434969" y="411561"/>
                  </a:cubicBezTo>
                  <a:cubicBezTo>
                    <a:pt x="427582" y="407829"/>
                    <a:pt x="420195" y="405874"/>
                    <a:pt x="414321" y="406318"/>
                  </a:cubicBezTo>
                  <a:cubicBezTo>
                    <a:pt x="414143" y="406318"/>
                    <a:pt x="413876" y="406407"/>
                    <a:pt x="413698" y="406496"/>
                  </a:cubicBezTo>
                  <a:cubicBezTo>
                    <a:pt x="409604" y="407473"/>
                    <a:pt x="407646" y="409517"/>
                    <a:pt x="405599" y="413605"/>
                  </a:cubicBezTo>
                  <a:lnTo>
                    <a:pt x="404620" y="414583"/>
                  </a:lnTo>
                  <a:cubicBezTo>
                    <a:pt x="397500" y="423648"/>
                    <a:pt x="380323" y="443910"/>
                    <a:pt x="373202" y="447910"/>
                  </a:cubicBezTo>
                  <a:cubicBezTo>
                    <a:pt x="365548" y="453242"/>
                    <a:pt x="357538" y="457152"/>
                    <a:pt x="349528" y="459552"/>
                  </a:cubicBezTo>
                  <a:cubicBezTo>
                    <a:pt x="365281" y="466839"/>
                    <a:pt x="384328" y="473149"/>
                    <a:pt x="405599" y="475282"/>
                  </a:cubicBezTo>
                  <a:cubicBezTo>
                    <a:pt x="410672" y="476259"/>
                    <a:pt x="414677" y="480259"/>
                    <a:pt x="414677" y="486391"/>
                  </a:cubicBezTo>
                  <a:cubicBezTo>
                    <a:pt x="413698" y="491456"/>
                    <a:pt x="409604" y="495456"/>
                    <a:pt x="404620" y="495456"/>
                  </a:cubicBezTo>
                  <a:lnTo>
                    <a:pt x="403552" y="495456"/>
                  </a:lnTo>
                  <a:cubicBezTo>
                    <a:pt x="333686" y="488346"/>
                    <a:pt x="288117" y="443910"/>
                    <a:pt x="287138" y="441866"/>
                  </a:cubicBezTo>
                  <a:cubicBezTo>
                    <a:pt x="286871" y="441600"/>
                    <a:pt x="286604" y="441333"/>
                    <a:pt x="286426" y="441067"/>
                  </a:cubicBezTo>
                  <a:cubicBezTo>
                    <a:pt x="285625" y="440356"/>
                    <a:pt x="284824" y="439645"/>
                    <a:pt x="284112" y="438845"/>
                  </a:cubicBezTo>
                  <a:lnTo>
                    <a:pt x="176777" y="331666"/>
                  </a:lnTo>
                  <a:cubicBezTo>
                    <a:pt x="174730" y="329622"/>
                    <a:pt x="119015" y="284120"/>
                    <a:pt x="111895" y="213379"/>
                  </a:cubicBezTo>
                  <a:cubicBezTo>
                    <a:pt x="110916" y="208314"/>
                    <a:pt x="115010" y="203248"/>
                    <a:pt x="121062" y="202270"/>
                  </a:cubicBezTo>
                  <a:cubicBezTo>
                    <a:pt x="127115" y="201204"/>
                    <a:pt x="131209" y="205292"/>
                    <a:pt x="132188" y="211335"/>
                  </a:cubicBezTo>
                  <a:cubicBezTo>
                    <a:pt x="133968" y="229109"/>
                    <a:pt x="139486" y="245284"/>
                    <a:pt x="146428" y="259325"/>
                  </a:cubicBezTo>
                  <a:cubicBezTo>
                    <a:pt x="148653" y="250794"/>
                    <a:pt x="152658" y="242262"/>
                    <a:pt x="158532" y="233553"/>
                  </a:cubicBezTo>
                  <a:cubicBezTo>
                    <a:pt x="162537" y="227510"/>
                    <a:pt x="183808" y="210358"/>
                    <a:pt x="191907" y="202270"/>
                  </a:cubicBezTo>
                  <a:lnTo>
                    <a:pt x="192975" y="201204"/>
                  </a:lnTo>
                  <a:cubicBezTo>
                    <a:pt x="196980" y="199160"/>
                    <a:pt x="199027" y="196138"/>
                    <a:pt x="200006" y="193117"/>
                  </a:cubicBezTo>
                  <a:cubicBezTo>
                    <a:pt x="202053" y="187073"/>
                    <a:pt x="200006" y="178986"/>
                    <a:pt x="194933" y="170899"/>
                  </a:cubicBezTo>
                  <a:cubicBezTo>
                    <a:pt x="194933" y="169832"/>
                    <a:pt x="154438" y="102113"/>
                    <a:pt x="121062" y="84961"/>
                  </a:cubicBezTo>
                  <a:cubicBezTo>
                    <a:pt x="115989" y="81895"/>
                    <a:pt x="109915" y="80873"/>
                    <a:pt x="103963" y="81761"/>
                  </a:cubicBezTo>
                  <a:close/>
                  <a:moveTo>
                    <a:pt x="353980" y="30273"/>
                  </a:moveTo>
                  <a:cubicBezTo>
                    <a:pt x="360041" y="30273"/>
                    <a:pt x="364141" y="34368"/>
                    <a:pt x="364141" y="40422"/>
                  </a:cubicBezTo>
                  <a:lnTo>
                    <a:pt x="364141" y="60719"/>
                  </a:lnTo>
                  <a:cubicBezTo>
                    <a:pt x="364141" y="66772"/>
                    <a:pt x="360041" y="70778"/>
                    <a:pt x="353980" y="70778"/>
                  </a:cubicBezTo>
                  <a:cubicBezTo>
                    <a:pt x="347829" y="70778"/>
                    <a:pt x="343818" y="66772"/>
                    <a:pt x="343818" y="60719"/>
                  </a:cubicBezTo>
                  <a:lnTo>
                    <a:pt x="343818" y="40422"/>
                  </a:lnTo>
                  <a:cubicBezTo>
                    <a:pt x="343818" y="34368"/>
                    <a:pt x="347829" y="30273"/>
                    <a:pt x="353980" y="30273"/>
                  </a:cubicBezTo>
                  <a:close/>
                  <a:moveTo>
                    <a:pt x="353978" y="20263"/>
                  </a:moveTo>
                  <a:cubicBezTo>
                    <a:pt x="284112" y="20263"/>
                    <a:pt x="219409" y="50479"/>
                    <a:pt x="174819" y="104957"/>
                  </a:cubicBezTo>
                  <a:cubicBezTo>
                    <a:pt x="196446" y="130818"/>
                    <a:pt x="212911" y="158901"/>
                    <a:pt x="214246" y="160768"/>
                  </a:cubicBezTo>
                  <a:cubicBezTo>
                    <a:pt x="221278" y="173920"/>
                    <a:pt x="224304" y="187073"/>
                    <a:pt x="221278" y="198182"/>
                  </a:cubicBezTo>
                  <a:cubicBezTo>
                    <a:pt x="220299" y="202093"/>
                    <a:pt x="218430" y="205736"/>
                    <a:pt x="215938" y="209025"/>
                  </a:cubicBezTo>
                  <a:cubicBezTo>
                    <a:pt x="214336" y="211335"/>
                    <a:pt x="212466" y="213379"/>
                    <a:pt x="210152" y="215157"/>
                  </a:cubicBezTo>
                  <a:cubicBezTo>
                    <a:pt x="208906" y="216312"/>
                    <a:pt x="207482" y="217378"/>
                    <a:pt x="206147" y="218445"/>
                  </a:cubicBezTo>
                  <a:cubicBezTo>
                    <a:pt x="193954" y="228487"/>
                    <a:pt x="179803" y="241640"/>
                    <a:pt x="176777" y="244662"/>
                  </a:cubicBezTo>
                  <a:cubicBezTo>
                    <a:pt x="160579" y="269012"/>
                    <a:pt x="162537" y="287142"/>
                    <a:pt x="182829" y="308382"/>
                  </a:cubicBezTo>
                  <a:lnTo>
                    <a:pt x="189504" y="315136"/>
                  </a:lnTo>
                  <a:cubicBezTo>
                    <a:pt x="189771" y="315403"/>
                    <a:pt x="189949" y="315492"/>
                    <a:pt x="189949" y="315492"/>
                  </a:cubicBezTo>
                  <a:cubicBezTo>
                    <a:pt x="190572" y="316025"/>
                    <a:pt x="191195" y="316647"/>
                    <a:pt x="191640" y="317269"/>
                  </a:cubicBezTo>
                  <a:lnTo>
                    <a:pt x="298263" y="424714"/>
                  </a:lnTo>
                  <a:cubicBezTo>
                    <a:pt x="318556" y="444888"/>
                    <a:pt x="337780" y="446932"/>
                    <a:pt x="362077" y="430758"/>
                  </a:cubicBezTo>
                  <a:cubicBezTo>
                    <a:pt x="365103" y="428713"/>
                    <a:pt x="378275" y="414583"/>
                    <a:pt x="388422" y="401430"/>
                  </a:cubicBezTo>
                  <a:cubicBezTo>
                    <a:pt x="393406" y="393343"/>
                    <a:pt x="400526" y="388277"/>
                    <a:pt x="408625" y="386233"/>
                  </a:cubicBezTo>
                  <a:cubicBezTo>
                    <a:pt x="412096" y="385344"/>
                    <a:pt x="415834" y="384900"/>
                    <a:pt x="419661" y="384900"/>
                  </a:cubicBezTo>
                  <a:cubicBezTo>
                    <a:pt x="428294" y="384989"/>
                    <a:pt x="437728" y="387477"/>
                    <a:pt x="446094" y="392365"/>
                  </a:cubicBezTo>
                  <a:cubicBezTo>
                    <a:pt x="447963" y="393609"/>
                    <a:pt x="476088" y="410051"/>
                    <a:pt x="501987" y="431646"/>
                  </a:cubicBezTo>
                  <a:cubicBezTo>
                    <a:pt x="556545" y="387122"/>
                    <a:pt x="586894" y="322513"/>
                    <a:pt x="586894" y="252749"/>
                  </a:cubicBezTo>
                  <a:cubicBezTo>
                    <a:pt x="586894" y="124330"/>
                    <a:pt x="482585" y="20263"/>
                    <a:pt x="353978" y="20263"/>
                  </a:cubicBezTo>
                  <a:close/>
                  <a:moveTo>
                    <a:pt x="353978" y="0"/>
                  </a:moveTo>
                  <a:cubicBezTo>
                    <a:pt x="493710" y="0"/>
                    <a:pt x="607097" y="113222"/>
                    <a:pt x="607097" y="252749"/>
                  </a:cubicBezTo>
                  <a:cubicBezTo>
                    <a:pt x="607097" y="327578"/>
                    <a:pt x="574345" y="397786"/>
                    <a:pt x="517384" y="445421"/>
                  </a:cubicBezTo>
                  <a:cubicBezTo>
                    <a:pt x="526907" y="454753"/>
                    <a:pt x="535184" y="464617"/>
                    <a:pt x="540257" y="474215"/>
                  </a:cubicBezTo>
                  <a:cubicBezTo>
                    <a:pt x="550403" y="493412"/>
                    <a:pt x="547377" y="517673"/>
                    <a:pt x="531179" y="532870"/>
                  </a:cubicBezTo>
                  <a:lnTo>
                    <a:pt x="505814" y="559176"/>
                  </a:lnTo>
                  <a:cubicBezTo>
                    <a:pt x="474486" y="590548"/>
                    <a:pt x="438974" y="606722"/>
                    <a:pt x="401505" y="606722"/>
                  </a:cubicBezTo>
                  <a:cubicBezTo>
                    <a:pt x="375249" y="606722"/>
                    <a:pt x="346858" y="598635"/>
                    <a:pt x="318556" y="582460"/>
                  </a:cubicBezTo>
                  <a:cubicBezTo>
                    <a:pt x="301289" y="573307"/>
                    <a:pt x="285091" y="560154"/>
                    <a:pt x="268893" y="543979"/>
                  </a:cubicBezTo>
                  <a:lnTo>
                    <a:pt x="61343" y="336732"/>
                  </a:lnTo>
                  <a:cubicBezTo>
                    <a:pt x="42030" y="317536"/>
                    <a:pt x="26899" y="296296"/>
                    <a:pt x="16753" y="275056"/>
                  </a:cubicBezTo>
                  <a:cubicBezTo>
                    <a:pt x="-13596" y="210358"/>
                    <a:pt x="-2471" y="151703"/>
                    <a:pt x="48171" y="101135"/>
                  </a:cubicBezTo>
                  <a:lnTo>
                    <a:pt x="73447" y="75807"/>
                  </a:lnTo>
                  <a:cubicBezTo>
                    <a:pt x="88666" y="60699"/>
                    <a:pt x="112963" y="56611"/>
                    <a:pt x="132188" y="66742"/>
                  </a:cubicBezTo>
                  <a:cubicBezTo>
                    <a:pt x="141711" y="71719"/>
                    <a:pt x="151412" y="79895"/>
                    <a:pt x="160757" y="89315"/>
                  </a:cubicBezTo>
                  <a:cubicBezTo>
                    <a:pt x="209173" y="32971"/>
                    <a:pt x="278772" y="0"/>
                    <a:pt x="35397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anchor="ctr"/>
            <a:lstStyle/>
            <a:p>
              <a:pPr algn="ctr" defTabSz="685800">
                <a:buClrTx/>
              </a:pPr>
              <a:endParaRPr sz="1350" kern="1200">
                <a:latin typeface="Calibri"/>
                <a:ea typeface="微软雅黑"/>
                <a:cs typeface="+mn-cs"/>
              </a:endParaRPr>
            </a:p>
          </p:txBody>
        </p:sp>
        <p:grpSp>
          <p:nvGrpSpPr>
            <p:cNvPr id="54" name="íṥḻîḓè"/>
            <p:cNvGrpSpPr/>
            <p:nvPr/>
          </p:nvGrpSpPr>
          <p:grpSpPr>
            <a:xfrm>
              <a:off x="8246944" y="4965112"/>
              <a:ext cx="504056" cy="504056"/>
              <a:chOff x="8246944" y="4890007"/>
              <a:chExt cx="504056" cy="504056"/>
            </a:xfrm>
          </p:grpSpPr>
          <p:sp>
            <p:nvSpPr>
              <p:cNvPr id="62" name="îṣļîďè"/>
              <p:cNvSpPr/>
              <p:nvPr/>
            </p:nvSpPr>
            <p:spPr>
              <a:xfrm>
                <a:off x="8246944" y="4890007"/>
                <a:ext cx="504056" cy="50405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63" name="ïs1ïḑê"/>
              <p:cNvSpPr/>
              <p:nvPr/>
            </p:nvSpPr>
            <p:spPr bwMode="auto">
              <a:xfrm>
                <a:off x="8343443" y="4986745"/>
                <a:ext cx="311058" cy="310581"/>
              </a:xfrm>
              <a:custGeom>
                <a:avLst/>
                <a:gdLst>
                  <a:gd name="connsiteX0" fmla="*/ 325000 h 606722"/>
                  <a:gd name="connsiteY0" fmla="*/ 325000 h 606722"/>
                  <a:gd name="connsiteX1" fmla="*/ 325000 h 606722"/>
                  <a:gd name="connsiteY1" fmla="*/ 325000 h 606722"/>
                  <a:gd name="connsiteX2" fmla="*/ 325000 h 606722"/>
                  <a:gd name="connsiteY2" fmla="*/ 325000 h 606722"/>
                  <a:gd name="connsiteX3" fmla="*/ 325000 h 606722"/>
                  <a:gd name="connsiteY3" fmla="*/ 325000 h 606722"/>
                  <a:gd name="connsiteX4" fmla="*/ 325000 h 606722"/>
                  <a:gd name="connsiteY4" fmla="*/ 325000 h 606722"/>
                  <a:gd name="connsiteX5" fmla="*/ 325000 h 606722"/>
                  <a:gd name="connsiteY5" fmla="*/ 325000 h 606722"/>
                  <a:gd name="connsiteX6" fmla="*/ 325000 h 606722"/>
                  <a:gd name="connsiteY6" fmla="*/ 325000 h 606722"/>
                  <a:gd name="connsiteX7" fmla="*/ 325000 h 606722"/>
                  <a:gd name="connsiteY7" fmla="*/ 325000 h 606722"/>
                  <a:gd name="connsiteX8" fmla="*/ 325000 h 606722"/>
                  <a:gd name="connsiteY8" fmla="*/ 325000 h 606722"/>
                  <a:gd name="connsiteX9" fmla="*/ 325000 h 606722"/>
                  <a:gd name="connsiteY9" fmla="*/ 325000 h 606722"/>
                  <a:gd name="connsiteX10" fmla="*/ 325000 h 606722"/>
                  <a:gd name="connsiteY10" fmla="*/ 325000 h 606722"/>
                  <a:gd name="connsiteX11" fmla="*/ 325000 h 606722"/>
                  <a:gd name="connsiteY11" fmla="*/ 325000 h 606722"/>
                  <a:gd name="connsiteX12" fmla="*/ 325000 h 606722"/>
                  <a:gd name="connsiteY12" fmla="*/ 325000 h 606722"/>
                  <a:gd name="connsiteX13" fmla="*/ 325000 h 606722"/>
                  <a:gd name="connsiteY13" fmla="*/ 325000 h 606722"/>
                  <a:gd name="connsiteX14" fmla="*/ 325000 h 606722"/>
                  <a:gd name="connsiteY14" fmla="*/ 325000 h 606722"/>
                  <a:gd name="connsiteX15" fmla="*/ 325000 h 606722"/>
                  <a:gd name="connsiteY15" fmla="*/ 325000 h 606722"/>
                  <a:gd name="connsiteX16" fmla="*/ 325000 h 606722"/>
                  <a:gd name="connsiteY16" fmla="*/ 325000 h 606722"/>
                  <a:gd name="connsiteX17" fmla="*/ 325000 h 606722"/>
                  <a:gd name="connsiteY17" fmla="*/ 325000 h 606722"/>
                  <a:gd name="connsiteX18" fmla="*/ 325000 h 606722"/>
                  <a:gd name="connsiteY18" fmla="*/ 325000 h 606722"/>
                  <a:gd name="connsiteX19" fmla="*/ 325000 h 606722"/>
                  <a:gd name="connsiteY19" fmla="*/ 325000 h 606722"/>
                  <a:gd name="connsiteX20" fmla="*/ 325000 h 606722"/>
                  <a:gd name="connsiteY20" fmla="*/ 325000 h 606722"/>
                  <a:gd name="connsiteX21" fmla="*/ 325000 h 606722"/>
                  <a:gd name="connsiteY21" fmla="*/ 325000 h 606722"/>
                  <a:gd name="connsiteX22" fmla="*/ 325000 h 606722"/>
                  <a:gd name="connsiteY22" fmla="*/ 325000 h 606722"/>
                  <a:gd name="connsiteX23" fmla="*/ 325000 h 606722"/>
                  <a:gd name="connsiteY23" fmla="*/ 325000 h 606722"/>
                  <a:gd name="connsiteX24" fmla="*/ 325000 h 606722"/>
                  <a:gd name="connsiteY24" fmla="*/ 325000 h 606722"/>
                  <a:gd name="connsiteX25" fmla="*/ 325000 h 606722"/>
                  <a:gd name="connsiteY25" fmla="*/ 325000 h 606722"/>
                  <a:gd name="connsiteX26" fmla="*/ 325000 h 606722"/>
                  <a:gd name="connsiteY26" fmla="*/ 325000 h 606722"/>
                  <a:gd name="connsiteX27" fmla="*/ 325000 h 606722"/>
                  <a:gd name="connsiteY27" fmla="*/ 325000 h 606722"/>
                  <a:gd name="connsiteX28" fmla="*/ 325000 h 606722"/>
                  <a:gd name="connsiteY28" fmla="*/ 325000 h 606722"/>
                  <a:gd name="connsiteX29" fmla="*/ 325000 h 606722"/>
                  <a:gd name="connsiteY29" fmla="*/ 325000 h 606722"/>
                  <a:gd name="connsiteX30" fmla="*/ 325000 h 606722"/>
                  <a:gd name="connsiteY30" fmla="*/ 325000 h 606722"/>
                  <a:gd name="connsiteX31" fmla="*/ 325000 h 606722"/>
                  <a:gd name="connsiteY31" fmla="*/ 325000 h 606722"/>
                  <a:gd name="connsiteX32" fmla="*/ 325000 h 606722"/>
                  <a:gd name="connsiteY32" fmla="*/ 325000 h 606722"/>
                  <a:gd name="connsiteX33" fmla="*/ 325000 h 606722"/>
                  <a:gd name="connsiteY33" fmla="*/ 325000 h 606722"/>
                  <a:gd name="connsiteX34" fmla="*/ 325000 h 606722"/>
                  <a:gd name="connsiteY34" fmla="*/ 325000 h 606722"/>
                  <a:gd name="connsiteX35" fmla="*/ 325000 h 606722"/>
                  <a:gd name="connsiteY35" fmla="*/ 325000 h 606722"/>
                  <a:gd name="connsiteX36" fmla="*/ 325000 h 606722"/>
                  <a:gd name="connsiteY36" fmla="*/ 325000 h 606722"/>
                  <a:gd name="connsiteX37" fmla="*/ 325000 h 606722"/>
                  <a:gd name="connsiteY37" fmla="*/ 325000 h 606722"/>
                  <a:gd name="connsiteX38" fmla="*/ 325000 h 606722"/>
                  <a:gd name="connsiteY38" fmla="*/ 325000 h 606722"/>
                  <a:gd name="connsiteX39" fmla="*/ 325000 h 606722"/>
                  <a:gd name="connsiteY39" fmla="*/ 325000 h 606722"/>
                  <a:gd name="connsiteX40" fmla="*/ 325000 h 606722"/>
                  <a:gd name="connsiteY40" fmla="*/ 325000 h 606722"/>
                  <a:gd name="connsiteX41" fmla="*/ 325000 h 606722"/>
                  <a:gd name="connsiteY41" fmla="*/ 325000 h 606722"/>
                  <a:gd name="connsiteX42" fmla="*/ 325000 h 606722"/>
                  <a:gd name="connsiteY42" fmla="*/ 325000 h 606722"/>
                  <a:gd name="connsiteX43" fmla="*/ 325000 h 606722"/>
                  <a:gd name="connsiteY43" fmla="*/ 325000 h 606722"/>
                  <a:gd name="connsiteX44" fmla="*/ 325000 h 606722"/>
                  <a:gd name="connsiteY44" fmla="*/ 325000 h 606722"/>
                  <a:gd name="connsiteX45" fmla="*/ 325000 h 606722"/>
                  <a:gd name="connsiteY45" fmla="*/ 325000 h 606722"/>
                  <a:gd name="connsiteX46" fmla="*/ 325000 h 606722"/>
                  <a:gd name="connsiteY46" fmla="*/ 325000 h 606722"/>
                  <a:gd name="connsiteX47" fmla="*/ 325000 h 606722"/>
                  <a:gd name="connsiteY47" fmla="*/ 325000 h 606722"/>
                  <a:gd name="connsiteX48" fmla="*/ 325000 h 606722"/>
                  <a:gd name="connsiteY48" fmla="*/ 325000 h 606722"/>
                  <a:gd name="connsiteX49" fmla="*/ 325000 h 606722"/>
                  <a:gd name="connsiteY49" fmla="*/ 325000 h 606722"/>
                  <a:gd name="connsiteX50" fmla="*/ 325000 h 606722"/>
                  <a:gd name="connsiteY50" fmla="*/ 325000 h 606722"/>
                  <a:gd name="connsiteX51" fmla="*/ 325000 h 606722"/>
                  <a:gd name="connsiteY51" fmla="*/ 325000 h 606722"/>
                  <a:gd name="connsiteX52" fmla="*/ 325000 h 606722"/>
                  <a:gd name="connsiteY52" fmla="*/ 325000 h 606722"/>
                  <a:gd name="connsiteX53" fmla="*/ 325000 h 606722"/>
                  <a:gd name="connsiteY53" fmla="*/ 325000 h 606722"/>
                  <a:gd name="connsiteX54" fmla="*/ 325000 h 606722"/>
                  <a:gd name="connsiteY54" fmla="*/ 325000 h 606722"/>
                  <a:gd name="connsiteX55" fmla="*/ 325000 h 606722"/>
                  <a:gd name="connsiteY55" fmla="*/ 325000 h 606722"/>
                  <a:gd name="connsiteX56" fmla="*/ 325000 h 606722"/>
                  <a:gd name="connsiteY56" fmla="*/ 325000 h 606722"/>
                  <a:gd name="connsiteX57" fmla="*/ 325000 h 606722"/>
                  <a:gd name="connsiteY57" fmla="*/ 325000 h 606722"/>
                  <a:gd name="connsiteX58" fmla="*/ 325000 h 606722"/>
                  <a:gd name="connsiteY58" fmla="*/ 325000 h 606722"/>
                  <a:gd name="connsiteX59" fmla="*/ 325000 h 606722"/>
                  <a:gd name="connsiteY59" fmla="*/ 325000 h 606722"/>
                  <a:gd name="connsiteX60" fmla="*/ 325000 h 606722"/>
                  <a:gd name="connsiteY60" fmla="*/ 325000 h 606722"/>
                  <a:gd name="connsiteX61" fmla="*/ 325000 h 606722"/>
                  <a:gd name="connsiteY61" fmla="*/ 325000 h 606722"/>
                  <a:gd name="connsiteX62" fmla="*/ 325000 h 606722"/>
                  <a:gd name="connsiteY62" fmla="*/ 325000 h 606722"/>
                  <a:gd name="connsiteX63" fmla="*/ 325000 h 606722"/>
                  <a:gd name="connsiteY63" fmla="*/ 325000 h 606722"/>
                  <a:gd name="connsiteX64" fmla="*/ 325000 h 606722"/>
                  <a:gd name="connsiteY64" fmla="*/ 325000 h 606722"/>
                  <a:gd name="connsiteX65" fmla="*/ 325000 h 606722"/>
                  <a:gd name="connsiteY65" fmla="*/ 325000 h 606722"/>
                  <a:gd name="connsiteX66" fmla="*/ 325000 h 606722"/>
                  <a:gd name="connsiteY66" fmla="*/ 325000 h 606722"/>
                  <a:gd name="connsiteX67" fmla="*/ 325000 h 606722"/>
                  <a:gd name="connsiteY67" fmla="*/ 32500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7535" h="606604">
                    <a:moveTo>
                      <a:pt x="394900" y="353768"/>
                    </a:moveTo>
                    <a:cubicBezTo>
                      <a:pt x="400507" y="353768"/>
                      <a:pt x="405045" y="358301"/>
                      <a:pt x="405045" y="363900"/>
                    </a:cubicBezTo>
                    <a:lnTo>
                      <a:pt x="405045" y="515616"/>
                    </a:lnTo>
                    <a:cubicBezTo>
                      <a:pt x="405045" y="543435"/>
                      <a:pt x="382353" y="566099"/>
                      <a:pt x="354410" y="566099"/>
                    </a:cubicBezTo>
                    <a:lnTo>
                      <a:pt x="212649" y="566099"/>
                    </a:lnTo>
                    <a:cubicBezTo>
                      <a:pt x="207131" y="566099"/>
                      <a:pt x="202593" y="561566"/>
                      <a:pt x="202593" y="556056"/>
                    </a:cubicBezTo>
                    <a:cubicBezTo>
                      <a:pt x="202593" y="550457"/>
                      <a:pt x="207131" y="545924"/>
                      <a:pt x="212649" y="545924"/>
                    </a:cubicBezTo>
                    <a:lnTo>
                      <a:pt x="354410" y="545924"/>
                    </a:lnTo>
                    <a:cubicBezTo>
                      <a:pt x="371140" y="545924"/>
                      <a:pt x="384845" y="532325"/>
                      <a:pt x="384845" y="515616"/>
                    </a:cubicBezTo>
                    <a:lnTo>
                      <a:pt x="384845" y="363900"/>
                    </a:lnTo>
                    <a:cubicBezTo>
                      <a:pt x="384845" y="358301"/>
                      <a:pt x="389294" y="353768"/>
                      <a:pt x="394900" y="353768"/>
                    </a:cubicBezTo>
                    <a:close/>
                    <a:moveTo>
                      <a:pt x="131640" y="262739"/>
                    </a:moveTo>
                    <a:cubicBezTo>
                      <a:pt x="137236" y="262739"/>
                      <a:pt x="141766" y="267271"/>
                      <a:pt x="141766" y="272870"/>
                    </a:cubicBezTo>
                    <a:lnTo>
                      <a:pt x="141766" y="333565"/>
                    </a:lnTo>
                    <a:cubicBezTo>
                      <a:pt x="141766" y="339075"/>
                      <a:pt x="137236" y="343607"/>
                      <a:pt x="131640" y="343607"/>
                    </a:cubicBezTo>
                    <a:cubicBezTo>
                      <a:pt x="126044" y="343607"/>
                      <a:pt x="121514" y="339075"/>
                      <a:pt x="121514" y="333565"/>
                    </a:cubicBezTo>
                    <a:lnTo>
                      <a:pt x="121514" y="272870"/>
                    </a:lnTo>
                    <a:cubicBezTo>
                      <a:pt x="121514" y="267271"/>
                      <a:pt x="126044" y="262739"/>
                      <a:pt x="131640" y="262739"/>
                    </a:cubicBezTo>
                    <a:close/>
                    <a:moveTo>
                      <a:pt x="489057" y="194973"/>
                    </a:moveTo>
                    <a:cubicBezTo>
                      <a:pt x="492973" y="190974"/>
                      <a:pt x="499381" y="190974"/>
                      <a:pt x="503386" y="194973"/>
                    </a:cubicBezTo>
                    <a:lnTo>
                      <a:pt x="604576" y="296095"/>
                    </a:lnTo>
                    <a:cubicBezTo>
                      <a:pt x="605555" y="296983"/>
                      <a:pt x="606267" y="298138"/>
                      <a:pt x="606801" y="299383"/>
                    </a:cubicBezTo>
                    <a:cubicBezTo>
                      <a:pt x="607780" y="301871"/>
                      <a:pt x="607780" y="304625"/>
                      <a:pt x="606801" y="307113"/>
                    </a:cubicBezTo>
                    <a:cubicBezTo>
                      <a:pt x="606267" y="308357"/>
                      <a:pt x="605555" y="309424"/>
                      <a:pt x="604576" y="310401"/>
                    </a:cubicBezTo>
                    <a:lnTo>
                      <a:pt x="503386" y="411434"/>
                    </a:lnTo>
                    <a:cubicBezTo>
                      <a:pt x="501339" y="413478"/>
                      <a:pt x="498758" y="414455"/>
                      <a:pt x="496177" y="414455"/>
                    </a:cubicBezTo>
                    <a:cubicBezTo>
                      <a:pt x="493596" y="414455"/>
                      <a:pt x="491015" y="413478"/>
                      <a:pt x="489057" y="411434"/>
                    </a:cubicBezTo>
                    <a:cubicBezTo>
                      <a:pt x="485052" y="407524"/>
                      <a:pt x="485052" y="401126"/>
                      <a:pt x="489057" y="397217"/>
                    </a:cubicBezTo>
                    <a:lnTo>
                      <a:pt x="572982" y="313333"/>
                    </a:lnTo>
                    <a:lnTo>
                      <a:pt x="232921" y="313333"/>
                    </a:lnTo>
                    <a:cubicBezTo>
                      <a:pt x="227314" y="313333"/>
                      <a:pt x="222775" y="308802"/>
                      <a:pt x="222775" y="303203"/>
                    </a:cubicBezTo>
                    <a:cubicBezTo>
                      <a:pt x="222775" y="297605"/>
                      <a:pt x="227314" y="293074"/>
                      <a:pt x="232921" y="293074"/>
                    </a:cubicBezTo>
                    <a:lnTo>
                      <a:pt x="572982" y="293074"/>
                    </a:lnTo>
                    <a:lnTo>
                      <a:pt x="489057" y="209279"/>
                    </a:lnTo>
                    <a:cubicBezTo>
                      <a:pt x="485052" y="205281"/>
                      <a:pt x="485052" y="198883"/>
                      <a:pt x="489057" y="194973"/>
                    </a:cubicBezTo>
                    <a:close/>
                    <a:moveTo>
                      <a:pt x="211398" y="40317"/>
                    </a:moveTo>
                    <a:lnTo>
                      <a:pt x="354409" y="40317"/>
                    </a:lnTo>
                    <a:cubicBezTo>
                      <a:pt x="382353" y="40317"/>
                      <a:pt x="405046" y="62981"/>
                      <a:pt x="405046" y="90889"/>
                    </a:cubicBezTo>
                    <a:lnTo>
                      <a:pt x="405046" y="242605"/>
                    </a:lnTo>
                    <a:cubicBezTo>
                      <a:pt x="405046" y="248115"/>
                      <a:pt x="400508" y="252648"/>
                      <a:pt x="394901" y="252648"/>
                    </a:cubicBezTo>
                    <a:cubicBezTo>
                      <a:pt x="389295" y="252648"/>
                      <a:pt x="384845" y="248115"/>
                      <a:pt x="384845" y="242605"/>
                    </a:cubicBezTo>
                    <a:lnTo>
                      <a:pt x="384845" y="90889"/>
                    </a:lnTo>
                    <a:cubicBezTo>
                      <a:pt x="384845" y="74180"/>
                      <a:pt x="371140" y="60581"/>
                      <a:pt x="354409" y="60581"/>
                    </a:cubicBezTo>
                    <a:lnTo>
                      <a:pt x="211398" y="60581"/>
                    </a:lnTo>
                    <a:cubicBezTo>
                      <a:pt x="205791" y="60581"/>
                      <a:pt x="201253" y="56048"/>
                      <a:pt x="201253" y="50449"/>
                    </a:cubicBezTo>
                    <a:cubicBezTo>
                      <a:pt x="201253" y="44850"/>
                      <a:pt x="205791" y="40317"/>
                      <a:pt x="211398" y="40317"/>
                    </a:cubicBezTo>
                    <a:close/>
                    <a:moveTo>
                      <a:pt x="147115" y="20146"/>
                    </a:moveTo>
                    <a:cubicBezTo>
                      <a:pt x="144890" y="20146"/>
                      <a:pt x="142576" y="20590"/>
                      <a:pt x="140084" y="21568"/>
                    </a:cubicBezTo>
                    <a:lnTo>
                      <a:pt x="44232" y="59782"/>
                    </a:lnTo>
                    <a:cubicBezTo>
                      <a:pt x="24919" y="66981"/>
                      <a:pt x="20292" y="73024"/>
                      <a:pt x="20292" y="90887"/>
                    </a:cubicBezTo>
                    <a:lnTo>
                      <a:pt x="20292" y="515689"/>
                    </a:lnTo>
                    <a:cubicBezTo>
                      <a:pt x="20292" y="533464"/>
                      <a:pt x="24919" y="539596"/>
                      <a:pt x="44054" y="546616"/>
                    </a:cubicBezTo>
                    <a:lnTo>
                      <a:pt x="140262" y="585098"/>
                    </a:lnTo>
                    <a:cubicBezTo>
                      <a:pt x="142576" y="585897"/>
                      <a:pt x="144890" y="586431"/>
                      <a:pt x="147115" y="586431"/>
                    </a:cubicBezTo>
                    <a:cubicBezTo>
                      <a:pt x="156015" y="586431"/>
                      <a:pt x="161978" y="578254"/>
                      <a:pt x="161978" y="566257"/>
                    </a:cubicBezTo>
                    <a:lnTo>
                      <a:pt x="161978" y="40319"/>
                    </a:lnTo>
                    <a:cubicBezTo>
                      <a:pt x="161978" y="28233"/>
                      <a:pt x="156015" y="20146"/>
                      <a:pt x="147115" y="20146"/>
                    </a:cubicBezTo>
                    <a:close/>
                    <a:moveTo>
                      <a:pt x="151669" y="315"/>
                    </a:moveTo>
                    <a:cubicBezTo>
                      <a:pt x="169354" y="2727"/>
                      <a:pt x="182270" y="18724"/>
                      <a:pt x="182270" y="40319"/>
                    </a:cubicBezTo>
                    <a:lnTo>
                      <a:pt x="182270" y="566257"/>
                    </a:lnTo>
                    <a:cubicBezTo>
                      <a:pt x="182270" y="589630"/>
                      <a:pt x="167496" y="606604"/>
                      <a:pt x="147115" y="606604"/>
                    </a:cubicBezTo>
                    <a:cubicBezTo>
                      <a:pt x="142487" y="606604"/>
                      <a:pt x="137681" y="605716"/>
                      <a:pt x="132964" y="603938"/>
                    </a:cubicBezTo>
                    <a:lnTo>
                      <a:pt x="36756" y="565457"/>
                    </a:lnTo>
                    <a:cubicBezTo>
                      <a:pt x="10057" y="555592"/>
                      <a:pt x="0" y="542084"/>
                      <a:pt x="0" y="515689"/>
                    </a:cubicBezTo>
                    <a:lnTo>
                      <a:pt x="0" y="90887"/>
                    </a:lnTo>
                    <a:cubicBezTo>
                      <a:pt x="0" y="64492"/>
                      <a:pt x="10057" y="50895"/>
                      <a:pt x="37023" y="40942"/>
                    </a:cubicBezTo>
                    <a:lnTo>
                      <a:pt x="132697" y="2727"/>
                    </a:lnTo>
                    <a:cubicBezTo>
                      <a:pt x="139350" y="217"/>
                      <a:pt x="145774" y="-489"/>
                      <a:pt x="151669" y="3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latin typeface="Calibri"/>
                  <a:ea typeface="微软雅黑"/>
                  <a:cs typeface="+mn-cs"/>
                </a:endParaRPr>
              </a:p>
            </p:txBody>
          </p:sp>
        </p:grpSp>
        <p:grpSp>
          <p:nvGrpSpPr>
            <p:cNvPr id="59" name="íṧḷíďê"/>
            <p:cNvGrpSpPr/>
            <p:nvPr/>
          </p:nvGrpSpPr>
          <p:grpSpPr>
            <a:xfrm>
              <a:off x="968399" y="4965112"/>
              <a:ext cx="504056" cy="504056"/>
              <a:chOff x="8246944" y="4890007"/>
              <a:chExt cx="504056" cy="504056"/>
            </a:xfrm>
          </p:grpSpPr>
          <p:sp>
            <p:nvSpPr>
              <p:cNvPr id="60" name="ïṧ1iḍè"/>
              <p:cNvSpPr/>
              <p:nvPr/>
            </p:nvSpPr>
            <p:spPr>
              <a:xfrm>
                <a:off x="8246944" y="4890007"/>
                <a:ext cx="504056" cy="504056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solidFill>
                    <a:srgbClr val="FFFFFF"/>
                  </a:solidFill>
                  <a:latin typeface="Calibri"/>
                  <a:ea typeface="微软雅黑"/>
                </a:endParaRPr>
              </a:p>
            </p:txBody>
          </p:sp>
          <p:sp>
            <p:nvSpPr>
              <p:cNvPr id="61" name="îṧ1ïḓé"/>
              <p:cNvSpPr/>
              <p:nvPr/>
            </p:nvSpPr>
            <p:spPr bwMode="auto">
              <a:xfrm>
                <a:off x="8343443" y="4986745"/>
                <a:ext cx="311058" cy="310581"/>
              </a:xfrm>
              <a:custGeom>
                <a:avLst/>
                <a:gdLst>
                  <a:gd name="connsiteX0" fmla="*/ 325000 h 606722"/>
                  <a:gd name="connsiteY0" fmla="*/ 325000 h 606722"/>
                  <a:gd name="connsiteX1" fmla="*/ 325000 h 606722"/>
                  <a:gd name="connsiteY1" fmla="*/ 325000 h 606722"/>
                  <a:gd name="connsiteX2" fmla="*/ 325000 h 606722"/>
                  <a:gd name="connsiteY2" fmla="*/ 325000 h 606722"/>
                  <a:gd name="connsiteX3" fmla="*/ 325000 h 606722"/>
                  <a:gd name="connsiteY3" fmla="*/ 325000 h 606722"/>
                  <a:gd name="connsiteX4" fmla="*/ 325000 h 606722"/>
                  <a:gd name="connsiteY4" fmla="*/ 325000 h 606722"/>
                  <a:gd name="connsiteX5" fmla="*/ 325000 h 606722"/>
                  <a:gd name="connsiteY5" fmla="*/ 325000 h 606722"/>
                  <a:gd name="connsiteX6" fmla="*/ 325000 h 606722"/>
                  <a:gd name="connsiteY6" fmla="*/ 325000 h 606722"/>
                  <a:gd name="connsiteX7" fmla="*/ 325000 h 606722"/>
                  <a:gd name="connsiteY7" fmla="*/ 325000 h 606722"/>
                  <a:gd name="connsiteX8" fmla="*/ 325000 h 606722"/>
                  <a:gd name="connsiteY8" fmla="*/ 325000 h 606722"/>
                  <a:gd name="connsiteX9" fmla="*/ 325000 h 606722"/>
                  <a:gd name="connsiteY9" fmla="*/ 325000 h 606722"/>
                  <a:gd name="connsiteX10" fmla="*/ 325000 h 606722"/>
                  <a:gd name="connsiteY10" fmla="*/ 325000 h 606722"/>
                  <a:gd name="connsiteX11" fmla="*/ 325000 h 606722"/>
                  <a:gd name="connsiteY11" fmla="*/ 325000 h 606722"/>
                  <a:gd name="connsiteX12" fmla="*/ 325000 h 606722"/>
                  <a:gd name="connsiteY12" fmla="*/ 325000 h 606722"/>
                  <a:gd name="connsiteX13" fmla="*/ 325000 h 606722"/>
                  <a:gd name="connsiteY13" fmla="*/ 325000 h 606722"/>
                  <a:gd name="connsiteX14" fmla="*/ 325000 h 606722"/>
                  <a:gd name="connsiteY14" fmla="*/ 325000 h 606722"/>
                  <a:gd name="connsiteX15" fmla="*/ 325000 h 606722"/>
                  <a:gd name="connsiteY15" fmla="*/ 325000 h 606722"/>
                  <a:gd name="connsiteX16" fmla="*/ 325000 h 606722"/>
                  <a:gd name="connsiteY16" fmla="*/ 325000 h 606722"/>
                  <a:gd name="connsiteX17" fmla="*/ 325000 h 606722"/>
                  <a:gd name="connsiteY17" fmla="*/ 325000 h 606722"/>
                  <a:gd name="connsiteX18" fmla="*/ 325000 h 606722"/>
                  <a:gd name="connsiteY18" fmla="*/ 325000 h 606722"/>
                  <a:gd name="connsiteX19" fmla="*/ 325000 h 606722"/>
                  <a:gd name="connsiteY19" fmla="*/ 325000 h 606722"/>
                  <a:gd name="connsiteX20" fmla="*/ 325000 h 606722"/>
                  <a:gd name="connsiteY20" fmla="*/ 325000 h 606722"/>
                  <a:gd name="connsiteX21" fmla="*/ 325000 h 606722"/>
                  <a:gd name="connsiteY21" fmla="*/ 325000 h 606722"/>
                  <a:gd name="connsiteX22" fmla="*/ 325000 h 606722"/>
                  <a:gd name="connsiteY22" fmla="*/ 325000 h 606722"/>
                  <a:gd name="connsiteX23" fmla="*/ 325000 h 606722"/>
                  <a:gd name="connsiteY23" fmla="*/ 325000 h 606722"/>
                  <a:gd name="connsiteX24" fmla="*/ 325000 h 606722"/>
                  <a:gd name="connsiteY24" fmla="*/ 325000 h 606722"/>
                  <a:gd name="connsiteX25" fmla="*/ 325000 h 606722"/>
                  <a:gd name="connsiteY25" fmla="*/ 325000 h 606722"/>
                  <a:gd name="connsiteX26" fmla="*/ 325000 h 606722"/>
                  <a:gd name="connsiteY26" fmla="*/ 325000 h 606722"/>
                  <a:gd name="connsiteX27" fmla="*/ 325000 h 606722"/>
                  <a:gd name="connsiteY27" fmla="*/ 325000 h 606722"/>
                  <a:gd name="connsiteX28" fmla="*/ 325000 h 606722"/>
                  <a:gd name="connsiteY28" fmla="*/ 325000 h 606722"/>
                  <a:gd name="connsiteX29" fmla="*/ 325000 h 606722"/>
                  <a:gd name="connsiteY29" fmla="*/ 325000 h 606722"/>
                  <a:gd name="connsiteX30" fmla="*/ 325000 h 606722"/>
                  <a:gd name="connsiteY30" fmla="*/ 325000 h 606722"/>
                  <a:gd name="connsiteX31" fmla="*/ 325000 h 606722"/>
                  <a:gd name="connsiteY31" fmla="*/ 325000 h 606722"/>
                  <a:gd name="connsiteX32" fmla="*/ 325000 h 606722"/>
                  <a:gd name="connsiteY32" fmla="*/ 325000 h 606722"/>
                  <a:gd name="connsiteX33" fmla="*/ 325000 h 606722"/>
                  <a:gd name="connsiteY33" fmla="*/ 325000 h 606722"/>
                  <a:gd name="connsiteX34" fmla="*/ 325000 h 606722"/>
                  <a:gd name="connsiteY34" fmla="*/ 325000 h 606722"/>
                  <a:gd name="connsiteX35" fmla="*/ 325000 h 606722"/>
                  <a:gd name="connsiteY35" fmla="*/ 325000 h 606722"/>
                  <a:gd name="connsiteX36" fmla="*/ 325000 h 606722"/>
                  <a:gd name="connsiteY36" fmla="*/ 325000 h 606722"/>
                  <a:gd name="connsiteX37" fmla="*/ 325000 h 606722"/>
                  <a:gd name="connsiteY37" fmla="*/ 325000 h 606722"/>
                  <a:gd name="connsiteX38" fmla="*/ 325000 h 606722"/>
                  <a:gd name="connsiteY38" fmla="*/ 325000 h 606722"/>
                  <a:gd name="connsiteX39" fmla="*/ 325000 h 606722"/>
                  <a:gd name="connsiteY39" fmla="*/ 325000 h 606722"/>
                  <a:gd name="connsiteX40" fmla="*/ 325000 h 606722"/>
                  <a:gd name="connsiteY40" fmla="*/ 325000 h 606722"/>
                  <a:gd name="connsiteX41" fmla="*/ 325000 h 606722"/>
                  <a:gd name="connsiteY41" fmla="*/ 325000 h 606722"/>
                  <a:gd name="connsiteX42" fmla="*/ 325000 h 606722"/>
                  <a:gd name="connsiteY42" fmla="*/ 325000 h 606722"/>
                  <a:gd name="connsiteX43" fmla="*/ 325000 h 606722"/>
                  <a:gd name="connsiteY43" fmla="*/ 325000 h 606722"/>
                  <a:gd name="connsiteX44" fmla="*/ 325000 h 606722"/>
                  <a:gd name="connsiteY44" fmla="*/ 325000 h 606722"/>
                  <a:gd name="connsiteX45" fmla="*/ 325000 h 606722"/>
                  <a:gd name="connsiteY45" fmla="*/ 325000 h 606722"/>
                  <a:gd name="connsiteX46" fmla="*/ 325000 h 606722"/>
                  <a:gd name="connsiteY46" fmla="*/ 325000 h 606722"/>
                  <a:gd name="connsiteX47" fmla="*/ 325000 h 606722"/>
                  <a:gd name="connsiteY47" fmla="*/ 325000 h 606722"/>
                  <a:gd name="connsiteX48" fmla="*/ 325000 h 606722"/>
                  <a:gd name="connsiteY48" fmla="*/ 325000 h 606722"/>
                  <a:gd name="connsiteX49" fmla="*/ 325000 h 606722"/>
                  <a:gd name="connsiteY49" fmla="*/ 325000 h 606722"/>
                  <a:gd name="connsiteX50" fmla="*/ 325000 h 606722"/>
                  <a:gd name="connsiteY50" fmla="*/ 325000 h 606722"/>
                  <a:gd name="connsiteX51" fmla="*/ 325000 h 606722"/>
                  <a:gd name="connsiteY51" fmla="*/ 325000 h 606722"/>
                  <a:gd name="connsiteX52" fmla="*/ 325000 h 606722"/>
                  <a:gd name="connsiteY52" fmla="*/ 325000 h 606722"/>
                  <a:gd name="connsiteX53" fmla="*/ 325000 h 606722"/>
                  <a:gd name="connsiteY53" fmla="*/ 325000 h 606722"/>
                  <a:gd name="connsiteX54" fmla="*/ 325000 h 606722"/>
                  <a:gd name="connsiteY54" fmla="*/ 325000 h 606722"/>
                  <a:gd name="connsiteX55" fmla="*/ 325000 h 606722"/>
                  <a:gd name="connsiteY55" fmla="*/ 325000 h 606722"/>
                  <a:gd name="connsiteX56" fmla="*/ 325000 h 606722"/>
                  <a:gd name="connsiteY56" fmla="*/ 325000 h 606722"/>
                  <a:gd name="connsiteX57" fmla="*/ 325000 h 606722"/>
                  <a:gd name="connsiteY57" fmla="*/ 325000 h 606722"/>
                  <a:gd name="connsiteX58" fmla="*/ 325000 h 606722"/>
                  <a:gd name="connsiteY58" fmla="*/ 325000 h 606722"/>
                  <a:gd name="connsiteX59" fmla="*/ 325000 h 606722"/>
                  <a:gd name="connsiteY59" fmla="*/ 325000 h 606722"/>
                  <a:gd name="connsiteX60" fmla="*/ 325000 h 606722"/>
                  <a:gd name="connsiteY60" fmla="*/ 325000 h 606722"/>
                  <a:gd name="connsiteX61" fmla="*/ 325000 h 606722"/>
                  <a:gd name="connsiteY61" fmla="*/ 325000 h 606722"/>
                  <a:gd name="connsiteX62" fmla="*/ 325000 h 606722"/>
                  <a:gd name="connsiteY62" fmla="*/ 325000 h 606722"/>
                  <a:gd name="connsiteX63" fmla="*/ 325000 h 606722"/>
                  <a:gd name="connsiteY63" fmla="*/ 325000 h 606722"/>
                  <a:gd name="connsiteX64" fmla="*/ 325000 h 606722"/>
                  <a:gd name="connsiteY64" fmla="*/ 325000 h 606722"/>
                  <a:gd name="connsiteX65" fmla="*/ 325000 h 606722"/>
                  <a:gd name="connsiteY65" fmla="*/ 325000 h 606722"/>
                  <a:gd name="connsiteX66" fmla="*/ 325000 h 606722"/>
                  <a:gd name="connsiteY66" fmla="*/ 325000 h 606722"/>
                  <a:gd name="connsiteX67" fmla="*/ 325000 h 606722"/>
                  <a:gd name="connsiteY67" fmla="*/ 325000 h 60672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</a:cxnLst>
                <a:rect l="l" t="t" r="r" b="b"/>
                <a:pathLst>
                  <a:path w="607535" h="606604">
                    <a:moveTo>
                      <a:pt x="394900" y="353768"/>
                    </a:moveTo>
                    <a:cubicBezTo>
                      <a:pt x="400507" y="353768"/>
                      <a:pt x="405045" y="358301"/>
                      <a:pt x="405045" y="363900"/>
                    </a:cubicBezTo>
                    <a:lnTo>
                      <a:pt x="405045" y="515616"/>
                    </a:lnTo>
                    <a:cubicBezTo>
                      <a:pt x="405045" y="543435"/>
                      <a:pt x="382353" y="566099"/>
                      <a:pt x="354410" y="566099"/>
                    </a:cubicBezTo>
                    <a:lnTo>
                      <a:pt x="212649" y="566099"/>
                    </a:lnTo>
                    <a:cubicBezTo>
                      <a:pt x="207131" y="566099"/>
                      <a:pt x="202593" y="561566"/>
                      <a:pt x="202593" y="556056"/>
                    </a:cubicBezTo>
                    <a:cubicBezTo>
                      <a:pt x="202593" y="550457"/>
                      <a:pt x="207131" y="545924"/>
                      <a:pt x="212649" y="545924"/>
                    </a:cubicBezTo>
                    <a:lnTo>
                      <a:pt x="354410" y="545924"/>
                    </a:lnTo>
                    <a:cubicBezTo>
                      <a:pt x="371140" y="545924"/>
                      <a:pt x="384845" y="532325"/>
                      <a:pt x="384845" y="515616"/>
                    </a:cubicBezTo>
                    <a:lnTo>
                      <a:pt x="384845" y="363900"/>
                    </a:lnTo>
                    <a:cubicBezTo>
                      <a:pt x="384845" y="358301"/>
                      <a:pt x="389294" y="353768"/>
                      <a:pt x="394900" y="353768"/>
                    </a:cubicBezTo>
                    <a:close/>
                    <a:moveTo>
                      <a:pt x="131640" y="262739"/>
                    </a:moveTo>
                    <a:cubicBezTo>
                      <a:pt x="137236" y="262739"/>
                      <a:pt x="141766" y="267271"/>
                      <a:pt x="141766" y="272870"/>
                    </a:cubicBezTo>
                    <a:lnTo>
                      <a:pt x="141766" y="333565"/>
                    </a:lnTo>
                    <a:cubicBezTo>
                      <a:pt x="141766" y="339075"/>
                      <a:pt x="137236" y="343607"/>
                      <a:pt x="131640" y="343607"/>
                    </a:cubicBezTo>
                    <a:cubicBezTo>
                      <a:pt x="126044" y="343607"/>
                      <a:pt x="121514" y="339075"/>
                      <a:pt x="121514" y="333565"/>
                    </a:cubicBezTo>
                    <a:lnTo>
                      <a:pt x="121514" y="272870"/>
                    </a:lnTo>
                    <a:cubicBezTo>
                      <a:pt x="121514" y="267271"/>
                      <a:pt x="126044" y="262739"/>
                      <a:pt x="131640" y="262739"/>
                    </a:cubicBezTo>
                    <a:close/>
                    <a:moveTo>
                      <a:pt x="489057" y="194973"/>
                    </a:moveTo>
                    <a:cubicBezTo>
                      <a:pt x="492973" y="190974"/>
                      <a:pt x="499381" y="190974"/>
                      <a:pt x="503386" y="194973"/>
                    </a:cubicBezTo>
                    <a:lnTo>
                      <a:pt x="604576" y="296095"/>
                    </a:lnTo>
                    <a:cubicBezTo>
                      <a:pt x="605555" y="296983"/>
                      <a:pt x="606267" y="298138"/>
                      <a:pt x="606801" y="299383"/>
                    </a:cubicBezTo>
                    <a:cubicBezTo>
                      <a:pt x="607780" y="301871"/>
                      <a:pt x="607780" y="304625"/>
                      <a:pt x="606801" y="307113"/>
                    </a:cubicBezTo>
                    <a:cubicBezTo>
                      <a:pt x="606267" y="308357"/>
                      <a:pt x="605555" y="309424"/>
                      <a:pt x="604576" y="310401"/>
                    </a:cubicBezTo>
                    <a:lnTo>
                      <a:pt x="503386" y="411434"/>
                    </a:lnTo>
                    <a:cubicBezTo>
                      <a:pt x="501339" y="413478"/>
                      <a:pt x="498758" y="414455"/>
                      <a:pt x="496177" y="414455"/>
                    </a:cubicBezTo>
                    <a:cubicBezTo>
                      <a:pt x="493596" y="414455"/>
                      <a:pt x="491015" y="413478"/>
                      <a:pt x="489057" y="411434"/>
                    </a:cubicBezTo>
                    <a:cubicBezTo>
                      <a:pt x="485052" y="407524"/>
                      <a:pt x="485052" y="401126"/>
                      <a:pt x="489057" y="397217"/>
                    </a:cubicBezTo>
                    <a:lnTo>
                      <a:pt x="572982" y="313333"/>
                    </a:lnTo>
                    <a:lnTo>
                      <a:pt x="232921" y="313333"/>
                    </a:lnTo>
                    <a:cubicBezTo>
                      <a:pt x="227314" y="313333"/>
                      <a:pt x="222775" y="308802"/>
                      <a:pt x="222775" y="303203"/>
                    </a:cubicBezTo>
                    <a:cubicBezTo>
                      <a:pt x="222775" y="297605"/>
                      <a:pt x="227314" y="293074"/>
                      <a:pt x="232921" y="293074"/>
                    </a:cubicBezTo>
                    <a:lnTo>
                      <a:pt x="572982" y="293074"/>
                    </a:lnTo>
                    <a:lnTo>
                      <a:pt x="489057" y="209279"/>
                    </a:lnTo>
                    <a:cubicBezTo>
                      <a:pt x="485052" y="205281"/>
                      <a:pt x="485052" y="198883"/>
                      <a:pt x="489057" y="194973"/>
                    </a:cubicBezTo>
                    <a:close/>
                    <a:moveTo>
                      <a:pt x="211398" y="40317"/>
                    </a:moveTo>
                    <a:lnTo>
                      <a:pt x="354409" y="40317"/>
                    </a:lnTo>
                    <a:cubicBezTo>
                      <a:pt x="382353" y="40317"/>
                      <a:pt x="405046" y="62981"/>
                      <a:pt x="405046" y="90889"/>
                    </a:cubicBezTo>
                    <a:lnTo>
                      <a:pt x="405046" y="242605"/>
                    </a:lnTo>
                    <a:cubicBezTo>
                      <a:pt x="405046" y="248115"/>
                      <a:pt x="400508" y="252648"/>
                      <a:pt x="394901" y="252648"/>
                    </a:cubicBezTo>
                    <a:cubicBezTo>
                      <a:pt x="389295" y="252648"/>
                      <a:pt x="384845" y="248115"/>
                      <a:pt x="384845" y="242605"/>
                    </a:cubicBezTo>
                    <a:lnTo>
                      <a:pt x="384845" y="90889"/>
                    </a:lnTo>
                    <a:cubicBezTo>
                      <a:pt x="384845" y="74180"/>
                      <a:pt x="371140" y="60581"/>
                      <a:pt x="354409" y="60581"/>
                    </a:cubicBezTo>
                    <a:lnTo>
                      <a:pt x="211398" y="60581"/>
                    </a:lnTo>
                    <a:cubicBezTo>
                      <a:pt x="205791" y="60581"/>
                      <a:pt x="201253" y="56048"/>
                      <a:pt x="201253" y="50449"/>
                    </a:cubicBezTo>
                    <a:cubicBezTo>
                      <a:pt x="201253" y="44850"/>
                      <a:pt x="205791" y="40317"/>
                      <a:pt x="211398" y="40317"/>
                    </a:cubicBezTo>
                    <a:close/>
                    <a:moveTo>
                      <a:pt x="147115" y="20146"/>
                    </a:moveTo>
                    <a:cubicBezTo>
                      <a:pt x="144890" y="20146"/>
                      <a:pt x="142576" y="20590"/>
                      <a:pt x="140084" y="21568"/>
                    </a:cubicBezTo>
                    <a:lnTo>
                      <a:pt x="44232" y="59782"/>
                    </a:lnTo>
                    <a:cubicBezTo>
                      <a:pt x="24919" y="66981"/>
                      <a:pt x="20292" y="73024"/>
                      <a:pt x="20292" y="90887"/>
                    </a:cubicBezTo>
                    <a:lnTo>
                      <a:pt x="20292" y="515689"/>
                    </a:lnTo>
                    <a:cubicBezTo>
                      <a:pt x="20292" y="533464"/>
                      <a:pt x="24919" y="539596"/>
                      <a:pt x="44054" y="546616"/>
                    </a:cubicBezTo>
                    <a:lnTo>
                      <a:pt x="140262" y="585098"/>
                    </a:lnTo>
                    <a:cubicBezTo>
                      <a:pt x="142576" y="585897"/>
                      <a:pt x="144890" y="586431"/>
                      <a:pt x="147115" y="586431"/>
                    </a:cubicBezTo>
                    <a:cubicBezTo>
                      <a:pt x="156015" y="586431"/>
                      <a:pt x="161978" y="578254"/>
                      <a:pt x="161978" y="566257"/>
                    </a:cubicBezTo>
                    <a:lnTo>
                      <a:pt x="161978" y="40319"/>
                    </a:lnTo>
                    <a:cubicBezTo>
                      <a:pt x="161978" y="28233"/>
                      <a:pt x="156015" y="20146"/>
                      <a:pt x="147115" y="20146"/>
                    </a:cubicBezTo>
                    <a:close/>
                    <a:moveTo>
                      <a:pt x="151669" y="315"/>
                    </a:moveTo>
                    <a:cubicBezTo>
                      <a:pt x="169354" y="2727"/>
                      <a:pt x="182270" y="18724"/>
                      <a:pt x="182270" y="40319"/>
                    </a:cubicBezTo>
                    <a:lnTo>
                      <a:pt x="182270" y="566257"/>
                    </a:lnTo>
                    <a:cubicBezTo>
                      <a:pt x="182270" y="589630"/>
                      <a:pt x="167496" y="606604"/>
                      <a:pt x="147115" y="606604"/>
                    </a:cubicBezTo>
                    <a:cubicBezTo>
                      <a:pt x="142487" y="606604"/>
                      <a:pt x="137681" y="605716"/>
                      <a:pt x="132964" y="603938"/>
                    </a:cubicBezTo>
                    <a:lnTo>
                      <a:pt x="36756" y="565457"/>
                    </a:lnTo>
                    <a:cubicBezTo>
                      <a:pt x="10057" y="555592"/>
                      <a:pt x="0" y="542084"/>
                      <a:pt x="0" y="515689"/>
                    </a:cubicBezTo>
                    <a:lnTo>
                      <a:pt x="0" y="90887"/>
                    </a:lnTo>
                    <a:cubicBezTo>
                      <a:pt x="0" y="64492"/>
                      <a:pt x="10057" y="50895"/>
                      <a:pt x="37023" y="40942"/>
                    </a:cubicBezTo>
                    <a:lnTo>
                      <a:pt x="132697" y="2727"/>
                    </a:lnTo>
                    <a:cubicBezTo>
                      <a:pt x="139350" y="217"/>
                      <a:pt x="145774" y="-489"/>
                      <a:pt x="151669" y="315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anchor="ctr"/>
              <a:lstStyle/>
              <a:p>
                <a:pPr algn="ctr" defTabSz="685800">
                  <a:buClrTx/>
                </a:pPr>
                <a:endParaRPr sz="1350" kern="1200">
                  <a:latin typeface="Calibri"/>
                  <a:ea typeface="微软雅黑"/>
                  <a:cs typeface="+mn-cs"/>
                </a:endParaRPr>
              </a:p>
            </p:txBody>
          </p:sp>
        </p:grpSp>
      </p:grpSp>
      <p:sp>
        <p:nvSpPr>
          <p:cNvPr id="73" name="Rectangle 72"/>
          <p:cNvSpPr/>
          <p:nvPr/>
        </p:nvSpPr>
        <p:spPr>
          <a:xfrm>
            <a:off x="6695435" y="999817"/>
            <a:ext cx="21753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0"/>
              </a:spcBef>
              <a:buClrTx/>
            </a:pPr>
            <a:r>
              <a:rPr lang="en-IN" altLang="zh-CN" sz="1200" b="1" kern="1200" dirty="0">
                <a:solidFill>
                  <a:srgbClr val="70AD47"/>
                </a:solidFill>
                <a:latin typeface="Calibri"/>
                <a:ea typeface="微软雅黑"/>
                <a:cs typeface="+mn-cs"/>
              </a:rPr>
              <a:t>Technology Stack</a:t>
            </a:r>
          </a:p>
        </p:txBody>
      </p:sp>
      <p:sp>
        <p:nvSpPr>
          <p:cNvPr id="75" name="iŝlîḍe"/>
          <p:cNvSpPr/>
          <p:nvPr/>
        </p:nvSpPr>
        <p:spPr bwMode="auto">
          <a:xfrm>
            <a:off x="6633088" y="1273226"/>
            <a:ext cx="2237700" cy="736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7500" anchor="t" anchorCtr="0">
            <a:noAutofit/>
          </a:bodyPr>
          <a:lstStyle/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US" sz="1050" kern="1200" dirty="0">
                <a:latin typeface="Calibri"/>
                <a:ea typeface="微软雅黑"/>
                <a:cs typeface="+mn-cs"/>
              </a:rPr>
              <a:t>IFFCO Kisan Agriculture app</a:t>
            </a:r>
          </a:p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US" sz="1050" kern="1200" dirty="0">
                <a:latin typeface="Calibri"/>
                <a:ea typeface="微软雅黑"/>
              </a:rPr>
              <a:t>Precision farm Stack - Krishi Dev Gyan </a:t>
            </a:r>
          </a:p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US" sz="1050" kern="1200" dirty="0">
                <a:latin typeface="Calibri"/>
                <a:ea typeface="微软雅黑"/>
                <a:cs typeface="+mn-cs"/>
              </a:rPr>
              <a:t>IFFCO Kisan Urban Greens</a:t>
            </a:r>
          </a:p>
        </p:txBody>
      </p:sp>
      <p:sp>
        <p:nvSpPr>
          <p:cNvPr id="78" name="Computer2"/>
          <p:cNvSpPr>
            <a:spLocks noChangeAspect="1" noEditPoints="1"/>
          </p:cNvSpPr>
          <p:nvPr>
            <p:custDataLst>
              <p:tags r:id="rId3"/>
            </p:custDataLst>
          </p:nvPr>
        </p:nvSpPr>
        <p:spPr bwMode="auto">
          <a:xfrm>
            <a:off x="6251013" y="1268650"/>
            <a:ext cx="233803" cy="234156"/>
          </a:xfrm>
          <a:custGeom>
            <a:avLst/>
            <a:gdLst>
              <a:gd name="T0" fmla="*/ 617 w 667"/>
              <a:gd name="T1" fmla="*/ 433 h 667"/>
              <a:gd name="T2" fmla="*/ 600 w 667"/>
              <a:gd name="T3" fmla="*/ 450 h 667"/>
              <a:gd name="T4" fmla="*/ 67 w 667"/>
              <a:gd name="T5" fmla="*/ 450 h 667"/>
              <a:gd name="T6" fmla="*/ 50 w 667"/>
              <a:gd name="T7" fmla="*/ 433 h 667"/>
              <a:gd name="T8" fmla="*/ 50 w 667"/>
              <a:gd name="T9" fmla="*/ 67 h 667"/>
              <a:gd name="T10" fmla="*/ 67 w 667"/>
              <a:gd name="T11" fmla="*/ 50 h 667"/>
              <a:gd name="T12" fmla="*/ 600 w 667"/>
              <a:gd name="T13" fmla="*/ 50 h 667"/>
              <a:gd name="T14" fmla="*/ 617 w 667"/>
              <a:gd name="T15" fmla="*/ 67 h 667"/>
              <a:gd name="T16" fmla="*/ 617 w 667"/>
              <a:gd name="T17" fmla="*/ 433 h 667"/>
              <a:gd name="T18" fmla="*/ 600 w 667"/>
              <a:gd name="T19" fmla="*/ 0 h 667"/>
              <a:gd name="T20" fmla="*/ 67 w 667"/>
              <a:gd name="T21" fmla="*/ 0 h 667"/>
              <a:gd name="T22" fmla="*/ 0 w 667"/>
              <a:gd name="T23" fmla="*/ 67 h 667"/>
              <a:gd name="T24" fmla="*/ 0 w 667"/>
              <a:gd name="T25" fmla="*/ 433 h 667"/>
              <a:gd name="T26" fmla="*/ 67 w 667"/>
              <a:gd name="T27" fmla="*/ 500 h 667"/>
              <a:gd name="T28" fmla="*/ 250 w 667"/>
              <a:gd name="T29" fmla="*/ 500 h 667"/>
              <a:gd name="T30" fmla="*/ 200 w 667"/>
              <a:gd name="T31" fmla="*/ 600 h 667"/>
              <a:gd name="T32" fmla="*/ 191 w 667"/>
              <a:gd name="T33" fmla="*/ 600 h 667"/>
              <a:gd name="T34" fmla="*/ 167 w 667"/>
              <a:gd name="T35" fmla="*/ 600 h 667"/>
              <a:gd name="T36" fmla="*/ 133 w 667"/>
              <a:gd name="T37" fmla="*/ 633 h 667"/>
              <a:gd name="T38" fmla="*/ 167 w 667"/>
              <a:gd name="T39" fmla="*/ 667 h 667"/>
              <a:gd name="T40" fmla="*/ 500 w 667"/>
              <a:gd name="T41" fmla="*/ 667 h 667"/>
              <a:gd name="T42" fmla="*/ 533 w 667"/>
              <a:gd name="T43" fmla="*/ 633 h 667"/>
              <a:gd name="T44" fmla="*/ 500 w 667"/>
              <a:gd name="T45" fmla="*/ 600 h 667"/>
              <a:gd name="T46" fmla="*/ 467 w 667"/>
              <a:gd name="T47" fmla="*/ 600 h 667"/>
              <a:gd name="T48" fmla="*/ 417 w 667"/>
              <a:gd name="T49" fmla="*/ 500 h 667"/>
              <a:gd name="T50" fmla="*/ 600 w 667"/>
              <a:gd name="T51" fmla="*/ 500 h 667"/>
              <a:gd name="T52" fmla="*/ 667 w 667"/>
              <a:gd name="T53" fmla="*/ 433 h 667"/>
              <a:gd name="T54" fmla="*/ 667 w 667"/>
              <a:gd name="T55" fmla="*/ 67 h 667"/>
              <a:gd name="T56" fmla="*/ 600 w 667"/>
              <a:gd name="T57" fmla="*/ 0 h 6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667" h="667">
                <a:moveTo>
                  <a:pt x="617" y="433"/>
                </a:moveTo>
                <a:cubicBezTo>
                  <a:pt x="617" y="443"/>
                  <a:pt x="609" y="450"/>
                  <a:pt x="600" y="450"/>
                </a:cubicBezTo>
                <a:lnTo>
                  <a:pt x="67" y="450"/>
                </a:lnTo>
                <a:cubicBezTo>
                  <a:pt x="57" y="450"/>
                  <a:pt x="50" y="443"/>
                  <a:pt x="50" y="433"/>
                </a:cubicBezTo>
                <a:lnTo>
                  <a:pt x="50" y="67"/>
                </a:lnTo>
                <a:cubicBezTo>
                  <a:pt x="50" y="57"/>
                  <a:pt x="57" y="50"/>
                  <a:pt x="67" y="50"/>
                </a:cubicBezTo>
                <a:lnTo>
                  <a:pt x="600" y="50"/>
                </a:lnTo>
                <a:cubicBezTo>
                  <a:pt x="609" y="50"/>
                  <a:pt x="617" y="57"/>
                  <a:pt x="617" y="67"/>
                </a:cubicBezTo>
                <a:lnTo>
                  <a:pt x="617" y="433"/>
                </a:lnTo>
                <a:close/>
                <a:moveTo>
                  <a:pt x="600" y="0"/>
                </a:moveTo>
                <a:lnTo>
                  <a:pt x="67" y="0"/>
                </a:lnTo>
                <a:cubicBezTo>
                  <a:pt x="30" y="0"/>
                  <a:pt x="0" y="30"/>
                  <a:pt x="0" y="67"/>
                </a:cubicBezTo>
                <a:lnTo>
                  <a:pt x="0" y="433"/>
                </a:lnTo>
                <a:cubicBezTo>
                  <a:pt x="0" y="470"/>
                  <a:pt x="30" y="500"/>
                  <a:pt x="67" y="500"/>
                </a:cubicBezTo>
                <a:lnTo>
                  <a:pt x="250" y="500"/>
                </a:lnTo>
                <a:cubicBezTo>
                  <a:pt x="250" y="500"/>
                  <a:pt x="267" y="600"/>
                  <a:pt x="200" y="600"/>
                </a:cubicBezTo>
                <a:lnTo>
                  <a:pt x="191" y="600"/>
                </a:lnTo>
                <a:lnTo>
                  <a:pt x="167" y="600"/>
                </a:lnTo>
                <a:cubicBezTo>
                  <a:pt x="148" y="600"/>
                  <a:pt x="133" y="615"/>
                  <a:pt x="133" y="633"/>
                </a:cubicBezTo>
                <a:cubicBezTo>
                  <a:pt x="133" y="652"/>
                  <a:pt x="148" y="667"/>
                  <a:pt x="167" y="667"/>
                </a:cubicBezTo>
                <a:lnTo>
                  <a:pt x="500" y="667"/>
                </a:lnTo>
                <a:cubicBezTo>
                  <a:pt x="518" y="667"/>
                  <a:pt x="533" y="652"/>
                  <a:pt x="533" y="633"/>
                </a:cubicBezTo>
                <a:cubicBezTo>
                  <a:pt x="533" y="615"/>
                  <a:pt x="518" y="600"/>
                  <a:pt x="500" y="600"/>
                </a:cubicBezTo>
                <a:lnTo>
                  <a:pt x="467" y="600"/>
                </a:lnTo>
                <a:cubicBezTo>
                  <a:pt x="400" y="600"/>
                  <a:pt x="417" y="500"/>
                  <a:pt x="417" y="500"/>
                </a:cubicBezTo>
                <a:lnTo>
                  <a:pt x="600" y="500"/>
                </a:lnTo>
                <a:cubicBezTo>
                  <a:pt x="637" y="500"/>
                  <a:pt x="667" y="470"/>
                  <a:pt x="667" y="433"/>
                </a:cubicBezTo>
                <a:lnTo>
                  <a:pt x="667" y="67"/>
                </a:lnTo>
                <a:cubicBezTo>
                  <a:pt x="667" y="30"/>
                  <a:pt x="637" y="0"/>
                  <a:pt x="600" y="0"/>
                </a:cubicBezTo>
                <a:close/>
              </a:path>
            </a:pathLst>
          </a:custGeom>
          <a:gradFill>
            <a:gsLst>
              <a:gs pos="0">
                <a:schemeClr val="accent1">
                  <a:lumMod val="5000"/>
                  <a:lumOff val="95000"/>
                </a:schemeClr>
              </a:gs>
              <a:gs pos="74000">
                <a:schemeClr val="bg1"/>
              </a:gs>
              <a:gs pos="83000">
                <a:schemeClr val="bg1"/>
              </a:gs>
              <a:gs pos="100000">
                <a:schemeClr val="bg1"/>
              </a:gs>
            </a:gsLst>
            <a:lin ang="5400000" scaled="1"/>
          </a:gradFill>
          <a:ln>
            <a:noFill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defTabSz="685800">
              <a:buClrTx/>
            </a:pPr>
            <a:endParaRPr lang="en-US" sz="1350" kern="1200" dirty="0">
              <a:latin typeface="Calibri"/>
              <a:ea typeface="微软雅黑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>
          <a:xfrm>
            <a:off x="1122460" y="3580609"/>
            <a:ext cx="21753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0"/>
              </a:spcBef>
              <a:buClrTx/>
            </a:pPr>
            <a:r>
              <a:rPr lang="en-IN" altLang="zh-CN" sz="1200" b="1" kern="1200" dirty="0">
                <a:solidFill>
                  <a:srgbClr val="27596B">
                    <a:lumMod val="50000"/>
                  </a:srgbClr>
                </a:solidFill>
                <a:latin typeface="Calibri"/>
                <a:ea typeface="微软雅黑"/>
                <a:cs typeface="+mn-cs"/>
              </a:rPr>
              <a:t>Animal Husbandry</a:t>
            </a:r>
          </a:p>
        </p:txBody>
      </p:sp>
      <p:sp>
        <p:nvSpPr>
          <p:cNvPr id="80" name="iŝlîḍe"/>
          <p:cNvSpPr/>
          <p:nvPr/>
        </p:nvSpPr>
        <p:spPr bwMode="auto">
          <a:xfrm>
            <a:off x="1126695" y="3815550"/>
            <a:ext cx="2462402" cy="5922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67500" anchor="t" anchorCtr="0">
            <a:noAutofit/>
          </a:bodyPr>
          <a:lstStyle/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IN" sz="1050" kern="1200" dirty="0">
                <a:latin typeface="Calibri"/>
                <a:ea typeface="微软雅黑"/>
                <a:cs typeface="+mn-cs"/>
              </a:rPr>
              <a:t>Compound cattle – feed </a:t>
            </a:r>
          </a:p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IN" sz="1050" kern="1200" dirty="0">
                <a:latin typeface="Calibri"/>
                <a:ea typeface="微软雅黑"/>
                <a:cs typeface="+mn-cs"/>
              </a:rPr>
              <a:t>Animal care services</a:t>
            </a:r>
          </a:p>
        </p:txBody>
      </p:sp>
      <p:sp>
        <p:nvSpPr>
          <p:cNvPr id="81" name="Rectangle 80"/>
          <p:cNvSpPr/>
          <p:nvPr/>
        </p:nvSpPr>
        <p:spPr>
          <a:xfrm>
            <a:off x="6633088" y="3619803"/>
            <a:ext cx="22870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>
              <a:spcBef>
                <a:spcPct val="0"/>
              </a:spcBef>
              <a:buClrTx/>
            </a:pPr>
            <a:r>
              <a:rPr lang="en-IN" altLang="zh-CN" sz="1200" b="1" kern="1200" dirty="0">
                <a:solidFill>
                  <a:srgbClr val="27596B">
                    <a:lumMod val="50000"/>
                  </a:srgbClr>
                </a:solidFill>
                <a:latin typeface="Calibri"/>
                <a:ea typeface="微软雅黑"/>
                <a:cs typeface="+mn-cs"/>
              </a:rPr>
              <a:t>Field / Aggregation Services</a:t>
            </a:r>
          </a:p>
        </p:txBody>
      </p:sp>
      <p:sp>
        <p:nvSpPr>
          <p:cNvPr id="83" name="Rectangle 82"/>
          <p:cNvSpPr/>
          <p:nvPr/>
        </p:nvSpPr>
        <p:spPr>
          <a:xfrm>
            <a:off x="6612588" y="3873718"/>
            <a:ext cx="225820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IN" sz="1050" kern="1200" dirty="0">
                <a:latin typeface="Calibri"/>
                <a:ea typeface="微软雅黑"/>
                <a:cs typeface="+mn-cs"/>
              </a:rPr>
              <a:t>CBBO - Promoting  Farmers Clubs &amp; FPOs</a:t>
            </a:r>
          </a:p>
          <a:p>
            <a:pPr marL="171450" lvl="1" indent="-171450" defTabSz="685800">
              <a:buClrTx/>
              <a:buFont typeface="+mj-lt"/>
              <a:buAutoNum type="romanLcPeriod"/>
            </a:pPr>
            <a:r>
              <a:rPr lang="en-IN" sz="1050" kern="1200" dirty="0">
                <a:latin typeface="Calibri"/>
                <a:ea typeface="微软雅黑"/>
                <a:cs typeface="+mn-cs"/>
              </a:rPr>
              <a:t>Farmer Forward Linkage Program</a:t>
            </a:r>
          </a:p>
          <a:p>
            <a:pPr marL="171450" lvl="1" indent="-171450" defTabSz="685800">
              <a:buClrTx/>
              <a:buFont typeface="+mj-lt"/>
              <a:buAutoNum type="romanLcPeriod"/>
            </a:pPr>
            <a:endParaRPr lang="en-IN" sz="1050" kern="1200" dirty="0">
              <a:latin typeface="Calibri"/>
              <a:ea typeface="微软雅黑"/>
              <a:cs typeface="+mn-cs"/>
            </a:endParaRPr>
          </a:p>
        </p:txBody>
      </p:sp>
      <p:sp>
        <p:nvSpPr>
          <p:cNvPr id="84" name="Title 2"/>
          <p:cNvSpPr txBox="1">
            <a:spLocks/>
          </p:cNvSpPr>
          <p:nvPr/>
        </p:nvSpPr>
        <p:spPr>
          <a:xfrm>
            <a:off x="636805" y="-92283"/>
            <a:ext cx="8137922" cy="771525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>
              <a:buClrTx/>
            </a:pPr>
            <a:r>
              <a:rPr lang="en-IN" dirty="0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IFFCO </a:t>
            </a:r>
            <a:r>
              <a:rPr lang="en-IN" dirty="0" err="1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Kisan</a:t>
            </a:r>
            <a:r>
              <a:rPr lang="en-IN" dirty="0">
                <a:solidFill>
                  <a:srgbClr val="003B70"/>
                </a:solidFill>
                <a:latin typeface="Poppins" panose="00000500000000000000" pitchFamily="2" charset="0"/>
                <a:cs typeface="Poppins" panose="00000500000000000000" pitchFamily="2" charset="0"/>
              </a:rPr>
              <a:t>  Agri-Tech Ecosystem</a:t>
            </a:r>
          </a:p>
        </p:txBody>
      </p:sp>
    </p:spTree>
    <p:extLst>
      <p:ext uri="{BB962C8B-B14F-4D97-AF65-F5344CB8AC3E}">
        <p14:creationId xmlns:p14="http://schemas.microsoft.com/office/powerpoint/2010/main" val="94491844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20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1" name="Google Shape;2041;p59"/>
          <p:cNvSpPr txBox="1">
            <a:spLocks noGrp="1"/>
          </p:cNvSpPr>
          <p:nvPr>
            <p:ph type="title"/>
          </p:nvPr>
        </p:nvSpPr>
        <p:spPr>
          <a:xfrm>
            <a:off x="4572001" y="258706"/>
            <a:ext cx="3732998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sz="4400" dirty="0"/>
              <a:t>450,00,00+</a:t>
            </a:r>
            <a:r>
              <a:rPr lang="en" dirty="0"/>
              <a:t> </a:t>
            </a:r>
            <a:r>
              <a:rPr lang="en-IN" sz="1200" i="1" dirty="0"/>
              <a:t>farmers</a:t>
            </a:r>
            <a:endParaRPr i="1" dirty="0"/>
          </a:p>
        </p:txBody>
      </p:sp>
      <p:sp>
        <p:nvSpPr>
          <p:cNvPr id="2042" name="Google Shape;2042;p59"/>
          <p:cNvSpPr txBox="1">
            <a:spLocks noGrp="1"/>
          </p:cNvSpPr>
          <p:nvPr>
            <p:ph type="subTitle" idx="1"/>
          </p:nvPr>
        </p:nvSpPr>
        <p:spPr>
          <a:xfrm>
            <a:off x="4899939" y="858161"/>
            <a:ext cx="3595132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/>
            <a:r>
              <a:rPr lang="en-IN" dirty="0"/>
              <a:t>Engaged farmers through farm advisories</a:t>
            </a:r>
            <a:endParaRPr dirty="0"/>
          </a:p>
        </p:txBody>
      </p:sp>
      <p:sp>
        <p:nvSpPr>
          <p:cNvPr id="2043" name="Google Shape;2043;p59"/>
          <p:cNvSpPr txBox="1">
            <a:spLocks noGrp="1"/>
          </p:cNvSpPr>
          <p:nvPr>
            <p:ph type="title" idx="2"/>
          </p:nvPr>
        </p:nvSpPr>
        <p:spPr>
          <a:xfrm>
            <a:off x="4718807" y="3740180"/>
            <a:ext cx="3647204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r>
              <a:rPr lang="en" sz="4400" dirty="0"/>
              <a:t>3,00,000+</a:t>
            </a:r>
            <a:r>
              <a:rPr lang="en" dirty="0"/>
              <a:t> </a:t>
            </a:r>
            <a:r>
              <a:rPr lang="en-IN" sz="1050" i="1" dirty="0"/>
              <a:t>acres</a:t>
            </a:r>
            <a:endParaRPr sz="5400" i="1" dirty="0"/>
          </a:p>
        </p:txBody>
      </p:sp>
      <p:sp>
        <p:nvSpPr>
          <p:cNvPr id="2044" name="Google Shape;2044;p59"/>
          <p:cNvSpPr txBox="1">
            <a:spLocks noGrp="1"/>
          </p:cNvSpPr>
          <p:nvPr>
            <p:ph type="subTitle" idx="3"/>
          </p:nvPr>
        </p:nvSpPr>
        <p:spPr>
          <a:xfrm>
            <a:off x="5032054" y="4504154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 algn="l"/>
            <a:r>
              <a:rPr lang="en-IN" dirty="0"/>
              <a:t>Drone Sprays</a:t>
            </a:r>
            <a:endParaRPr dirty="0"/>
          </a:p>
        </p:txBody>
      </p:sp>
      <p:sp>
        <p:nvSpPr>
          <p:cNvPr id="2045" name="Google Shape;2045;p59"/>
          <p:cNvSpPr txBox="1">
            <a:spLocks noGrp="1"/>
          </p:cNvSpPr>
          <p:nvPr>
            <p:ph type="title" idx="4"/>
          </p:nvPr>
        </p:nvSpPr>
        <p:spPr>
          <a:xfrm>
            <a:off x="4743600" y="2292380"/>
            <a:ext cx="3159300" cy="7239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algn="l"/>
            <a:r>
              <a:rPr lang="en" sz="4400" dirty="0"/>
              <a:t>30,000+</a:t>
            </a:r>
            <a:r>
              <a:rPr lang="en" dirty="0"/>
              <a:t> </a:t>
            </a:r>
            <a:r>
              <a:rPr lang="en-IN" sz="1050" i="1" dirty="0"/>
              <a:t>acres</a:t>
            </a:r>
            <a:endParaRPr lang="en-IN" sz="7200" i="1" dirty="0"/>
          </a:p>
        </p:txBody>
      </p:sp>
      <p:sp>
        <p:nvSpPr>
          <p:cNvPr id="2046" name="Google Shape;2046;p59"/>
          <p:cNvSpPr txBox="1">
            <a:spLocks noGrp="1"/>
          </p:cNvSpPr>
          <p:nvPr>
            <p:ph type="subTitle" idx="5"/>
          </p:nvPr>
        </p:nvSpPr>
        <p:spPr>
          <a:xfrm>
            <a:off x="4974098" y="3016280"/>
            <a:ext cx="3330900" cy="4173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 algn="l"/>
            <a:r>
              <a:rPr lang="en-IN" dirty="0"/>
              <a:t>Model farms connected with virtual IoT and remote sensing data points</a:t>
            </a:r>
            <a:endParaRPr dirty="0"/>
          </a:p>
        </p:txBody>
      </p:sp>
      <p:cxnSp>
        <p:nvCxnSpPr>
          <p:cNvPr id="2047" name="Google Shape;2047;p59"/>
          <p:cNvCxnSpPr/>
          <p:nvPr/>
        </p:nvCxnSpPr>
        <p:spPr>
          <a:xfrm>
            <a:off x="8843800" y="392547"/>
            <a:ext cx="0" cy="4358400"/>
          </a:xfrm>
          <a:prstGeom prst="straightConnector1">
            <a:avLst/>
          </a:prstGeom>
          <a:noFill/>
          <a:ln w="9525" cap="flat" cmpd="sng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outerShdw blurRad="57150" dist="19050" dir="5400000" algn="bl" rotWithShape="0">
              <a:srgbClr val="FFFFFF">
                <a:alpha val="50000"/>
              </a:srgbClr>
            </a:outerShdw>
          </a:effectLst>
        </p:spPr>
      </p:cxnSp>
      <p:sp>
        <p:nvSpPr>
          <p:cNvPr id="9" name="Google Shape;2041;p59">
            <a:extLst>
              <a:ext uri="{FF2B5EF4-FFF2-40B4-BE49-F238E27FC236}">
                <a16:creationId xmlns:a16="http://schemas.microsoft.com/office/drawing/2014/main" id="{C04C34AF-C4A9-4B7B-867B-FA27B5CBCBC8}"/>
              </a:ext>
            </a:extLst>
          </p:cNvPr>
          <p:cNvSpPr txBox="1">
            <a:spLocks/>
          </p:cNvSpPr>
          <p:nvPr/>
        </p:nvSpPr>
        <p:spPr>
          <a:xfrm>
            <a:off x="4675911" y="1265300"/>
            <a:ext cx="3732998" cy="72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Fjalla One"/>
              <a:buNone/>
              <a:defRPr sz="6400" b="0" i="0" u="none" strike="noStrike" cap="none">
                <a:solidFill>
                  <a:schemeClr val="lt1"/>
                </a:solidFill>
                <a:latin typeface="Fjalla One"/>
                <a:ea typeface="Fjalla One"/>
                <a:cs typeface="Fjalla One"/>
                <a:sym typeface="Fjalla One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Font typeface="Economica"/>
              <a:buNone/>
              <a:defRPr sz="8000" b="0" i="0" u="none" strike="noStrike" cap="none">
                <a:solidFill>
                  <a:schemeClr val="lt1"/>
                </a:solidFill>
                <a:latin typeface="Economica"/>
                <a:ea typeface="Economica"/>
                <a:cs typeface="Economica"/>
                <a:sym typeface="Economica"/>
              </a:defRPr>
            </a:lvl9pPr>
          </a:lstStyle>
          <a:p>
            <a:pPr defTabSz="685800">
              <a:buClr>
                <a:srgbClr val="FFFFFF"/>
              </a:buClr>
            </a:pPr>
            <a:r>
              <a:rPr lang="en-IN" sz="4400" dirty="0">
                <a:solidFill>
                  <a:srgbClr val="FFFFFF"/>
                </a:solidFill>
              </a:rPr>
              <a:t>100,00,00+</a:t>
            </a:r>
            <a:r>
              <a:rPr lang="en-IN" sz="4800" dirty="0">
                <a:solidFill>
                  <a:srgbClr val="FFFFFF"/>
                </a:solidFill>
              </a:rPr>
              <a:t> </a:t>
            </a:r>
            <a:r>
              <a:rPr lang="en-IN" sz="1200" i="1" dirty="0">
                <a:solidFill>
                  <a:srgbClr val="FFFFFF"/>
                </a:solidFill>
              </a:rPr>
              <a:t>farmers</a:t>
            </a:r>
            <a:endParaRPr lang="en-IN" sz="4800" i="1" dirty="0">
              <a:solidFill>
                <a:srgbClr val="FFFFFF"/>
              </a:solidFill>
            </a:endParaRPr>
          </a:p>
        </p:txBody>
      </p:sp>
      <p:sp>
        <p:nvSpPr>
          <p:cNvPr id="10" name="Google Shape;2042;p59">
            <a:extLst>
              <a:ext uri="{FF2B5EF4-FFF2-40B4-BE49-F238E27FC236}">
                <a16:creationId xmlns:a16="http://schemas.microsoft.com/office/drawing/2014/main" id="{BAB5A8B3-3642-4D96-BBFA-F4F7D9CC2055}"/>
              </a:ext>
            </a:extLst>
          </p:cNvPr>
          <p:cNvSpPr txBox="1">
            <a:spLocks/>
          </p:cNvSpPr>
          <p:nvPr/>
        </p:nvSpPr>
        <p:spPr>
          <a:xfrm>
            <a:off x="4572000" y="1835005"/>
            <a:ext cx="3330900" cy="41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3429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400"/>
              <a:buFont typeface="Roboto Condensed Light"/>
              <a:buNone/>
              <a:defRPr sz="1867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1pPr>
            <a:lvl2pPr marL="914400" marR="0" lvl="1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2pPr>
            <a:lvl3pPr marL="1371600" marR="0" lvl="2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3pPr>
            <a:lvl4pPr marL="1828800" marR="0" lvl="3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4pPr>
            <a:lvl5pPr marL="2286000" marR="0" lvl="4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5pPr>
            <a:lvl6pPr marL="2743200" marR="0" lvl="5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6pPr>
            <a:lvl7pPr marL="3200400" marR="0" lvl="6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7pPr>
            <a:lvl8pPr marL="3657600" marR="0" lvl="7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8pPr>
            <a:lvl9pPr marL="4114800" marR="0" lvl="8" indent="-31750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100"/>
              <a:buFont typeface="Roboto Condensed Light"/>
              <a:buNone/>
              <a:defRPr sz="2800" b="0" i="0" u="none" strike="noStrike" cap="none">
                <a:solidFill>
                  <a:schemeClr val="accent1"/>
                </a:solidFill>
                <a:latin typeface="Roboto Condensed Light"/>
                <a:ea typeface="Roboto Condensed Light"/>
                <a:cs typeface="Roboto Condensed Light"/>
                <a:sym typeface="Roboto Condensed Light"/>
              </a:defRPr>
            </a:lvl9pPr>
          </a:lstStyle>
          <a:p>
            <a:pPr marL="0" indent="0" defTabSz="685800">
              <a:buClr>
                <a:srgbClr val="FFAB40"/>
              </a:buClr>
            </a:pPr>
            <a:r>
              <a:rPr lang="en-US" sz="1400">
                <a:solidFill>
                  <a:srgbClr val="FFAB40"/>
                </a:solidFill>
              </a:rPr>
              <a:t>Engaged farmers on the app</a:t>
            </a:r>
            <a:endParaRPr lang="en-US" sz="1400" dirty="0">
              <a:solidFill>
                <a:srgbClr val="FFAB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0132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4" name="Google Shape;74;p16"/>
          <p:cNvPicPr preferRelativeResize="0"/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1715" y="1496156"/>
            <a:ext cx="2962571" cy="3060462"/>
          </a:xfrm>
          <a:prstGeom prst="rect">
            <a:avLst/>
          </a:prstGeom>
          <a:noFill/>
          <a:ln>
            <a:noFill/>
          </a:ln>
        </p:spPr>
      </p:pic>
      <p:pic>
        <p:nvPicPr>
          <p:cNvPr id="75" name="Google Shape;75;p16"/>
          <p:cNvPicPr preferRelativeResize="0"/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91150" y="3200401"/>
            <a:ext cx="2042750" cy="1866900"/>
          </a:xfrm>
          <a:prstGeom prst="rect">
            <a:avLst/>
          </a:prstGeom>
          <a:noFill/>
          <a:ln>
            <a:noFill/>
          </a:ln>
        </p:spPr>
      </p:pic>
      <p:graphicFrame>
        <p:nvGraphicFramePr>
          <p:cNvPr id="77" name="Google Shape;77;p16"/>
          <p:cNvGraphicFramePr/>
          <p:nvPr>
            <p:extLst>
              <p:ext uri="{D42A27DB-BD31-4B8C-83A1-F6EECF244321}">
                <p14:modId xmlns:p14="http://schemas.microsoft.com/office/powerpoint/2010/main" val="2443486185"/>
              </p:ext>
            </p:extLst>
          </p:nvPr>
        </p:nvGraphicFramePr>
        <p:xfrm>
          <a:off x="4692450" y="2008800"/>
          <a:ext cx="4113950" cy="2224285"/>
        </p:xfrm>
        <a:graphic>
          <a:graphicData uri="http://schemas.openxmlformats.org/drawingml/2006/table">
            <a:tbl>
              <a:tblPr>
                <a:noFill/>
                <a:tableStyleId>{52A4AA88-1E76-4665-A375-346522770578}</a:tableStyleId>
              </a:tblPr>
              <a:tblGrid>
                <a:gridCol w="20569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05697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 dirty="0">
                          <a:solidFill>
                            <a:schemeClr val="lt1"/>
                          </a:solidFill>
                          <a:latin typeface="Poppins" panose="00000500000000000000" pitchFamily="2" charset="0"/>
                          <a:ea typeface="Times New Roman"/>
                          <a:cs typeface="Poppins" panose="00000500000000000000" pitchFamily="2" charset="0"/>
                          <a:sym typeface="Times New Roman"/>
                        </a:rPr>
                        <a:t>Major Crops</a:t>
                      </a:r>
                      <a:endParaRPr sz="1800" b="1" dirty="0">
                        <a:solidFill>
                          <a:schemeClr val="lt1"/>
                        </a:solidFill>
                        <a:latin typeface="Poppins" panose="00000500000000000000" pitchFamily="2" charset="0"/>
                        <a:ea typeface="Times New Roman"/>
                        <a:cs typeface="Poppins" panose="00000500000000000000" pitchFamily="2" charset="0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700"/>
                    </a:solidFill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800" b="1" dirty="0">
                          <a:solidFill>
                            <a:schemeClr val="lt1"/>
                          </a:solidFill>
                          <a:latin typeface="Poppins" panose="00000500000000000000" pitchFamily="2" charset="0"/>
                          <a:ea typeface="Times New Roman"/>
                          <a:cs typeface="Poppins" panose="00000500000000000000" pitchFamily="2" charset="0"/>
                          <a:sym typeface="Times New Roman"/>
                        </a:rPr>
                        <a:t>Area of Operation</a:t>
                      </a:r>
                      <a:endParaRPr sz="1800" b="1" dirty="0">
                        <a:solidFill>
                          <a:schemeClr val="lt1"/>
                        </a:solidFill>
                        <a:latin typeface="Poppins" panose="00000500000000000000" pitchFamily="2" charset="0"/>
                        <a:ea typeface="Times New Roman"/>
                        <a:cs typeface="Poppins" panose="00000500000000000000" pitchFamily="2" charset="0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7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>
                          <a:latin typeface="Neue Haas Unica" panose="020B0504030206020203" pitchFamily="34" charset="0"/>
                          <a:ea typeface="Times New Roman"/>
                          <a:cs typeface="Times New Roman"/>
                          <a:sym typeface="Times New Roman"/>
                        </a:rPr>
                        <a:t>Millet, Paddy, Wheat</a:t>
                      </a:r>
                      <a:endParaRPr sz="1000" dirty="0">
                        <a:latin typeface="Neue Haas Unica" panose="020B0504030206020203" pitchFamily="34" charset="0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latin typeface="Neue Haas Unica" panose="020B0504030206020203" pitchFamily="34" charset="0"/>
                          <a:ea typeface="Times New Roman"/>
                          <a:cs typeface="Times New Roman"/>
                          <a:sym typeface="Times New Roman"/>
                        </a:rPr>
                        <a:t>UP, Haryana, Rajasthan, Madhya Pradesh, Karnataka, Maharashtra</a:t>
                      </a:r>
                      <a:endParaRPr sz="1000">
                        <a:latin typeface="Neue Haas Unica" panose="020B0504030206020203" pitchFamily="34" charset="0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>
                          <a:latin typeface="Neue Haas Unica" panose="020B0504030206020203" pitchFamily="34" charset="0"/>
                          <a:ea typeface="Times New Roman"/>
                          <a:cs typeface="Times New Roman"/>
                          <a:sym typeface="Times New Roman"/>
                        </a:rPr>
                        <a:t>Tomato, Onion, Papaya, Mango and Other Fruits</a:t>
                      </a:r>
                      <a:endParaRPr sz="1000" dirty="0">
                        <a:latin typeface="Neue Haas Unica" panose="020B0504030206020203" pitchFamily="34" charset="0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>
                          <a:latin typeface="Neue Haas Unica" panose="020B0504030206020203" pitchFamily="34" charset="0"/>
                          <a:ea typeface="Times New Roman"/>
                          <a:cs typeface="Times New Roman"/>
                          <a:sym typeface="Times New Roman"/>
                        </a:rPr>
                        <a:t>Maharashtra, Gujarat, Madhya Pradesh</a:t>
                      </a:r>
                      <a:endParaRPr sz="1000">
                        <a:latin typeface="Neue Haas Unica" panose="020B0504030206020203" pitchFamily="34" charset="0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>
                          <a:latin typeface="Neue Haas Unica" panose="020B0504030206020203" pitchFamily="34" charset="0"/>
                          <a:ea typeface="Times New Roman"/>
                          <a:cs typeface="Times New Roman"/>
                          <a:sym typeface="Times New Roman"/>
                        </a:rPr>
                        <a:t> Chilli, Turmeric, Ginger, Cumin, Cardamom, Coriander</a:t>
                      </a:r>
                      <a:endParaRPr sz="1000" dirty="0">
                        <a:latin typeface="Neue Haas Unica" panose="020B0504030206020203" pitchFamily="34" charset="0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lvl="0" indent="0" algn="ctr" rtl="0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en" sz="1000" dirty="0">
                          <a:latin typeface="Neue Haas Unica" panose="020B0504030206020203" pitchFamily="34" charset="0"/>
                          <a:ea typeface="Times New Roman"/>
                          <a:cs typeface="Times New Roman"/>
                          <a:sym typeface="Times New Roman"/>
                        </a:rPr>
                        <a:t>Andhra Pradesh, Telangana, Odisha, Kerala, Karnataka, Rajasthan, Gujarat</a:t>
                      </a:r>
                      <a:endParaRPr sz="1000" dirty="0">
                        <a:latin typeface="Neue Haas Unica" panose="020B0504030206020203" pitchFamily="34" charset="0"/>
                        <a:ea typeface="Times New Roman"/>
                        <a:cs typeface="Times New Roman"/>
                        <a:sym typeface="Times New Roman"/>
                      </a:endParaRPr>
                    </a:p>
                  </a:txBody>
                  <a:tcPr marL="91425" marR="91425" marT="91425" marB="91425" anchor="ctr">
                    <a:lnL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>
                      <a:noFill/>
                      <a:prstDash val="solid"/>
                      <a:round/>
                      <a:headEnd type="none" w="sm" len="sm"/>
                      <a:tailEnd type="none" w="sm" len="sm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3" name="Google Shape;61;p14">
            <a:extLst>
              <a:ext uri="{FF2B5EF4-FFF2-40B4-BE49-F238E27FC236}">
                <a16:creationId xmlns:a16="http://schemas.microsoft.com/office/drawing/2014/main" id="{E632EA42-7A37-05F3-D6B3-588D22DDE4A5}"/>
              </a:ext>
            </a:extLst>
          </p:cNvPr>
          <p:cNvSpPr txBox="1">
            <a:spLocks/>
          </p:cNvSpPr>
          <p:nvPr/>
        </p:nvSpPr>
        <p:spPr>
          <a:xfrm>
            <a:off x="426825" y="37460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990"/>
            </a:pPr>
            <a:r>
              <a:rPr lang="en-GB" sz="3200" b="1" dirty="0">
                <a:solidFill>
                  <a:srgbClr val="003B70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Activity Map with Similar Intervention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BCBA6B-EB25-4239-8934-D61D9D3ADE73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5</a:t>
            </a:fld>
            <a:endParaRPr lang="en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A72EBB8-DA52-4095-8E77-E2E5E3F0D7AB}"/>
              </a:ext>
            </a:extLst>
          </p:cNvPr>
          <p:cNvSpPr txBox="1">
            <a:spLocks/>
          </p:cNvSpPr>
          <p:nvPr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z="1200" smtClean="0">
                <a:solidFill>
                  <a:schemeClr val="bg1"/>
                </a:solidFill>
              </a:rPr>
              <a:pPr/>
              <a:t>5</a:t>
            </a:fld>
            <a:endParaRPr lang="en-IN" sz="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3136B7-5E38-4FEE-B54B-32A79FB692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476435"/>
            <a:ext cx="9144000" cy="4438983"/>
          </a:xfrm>
          <a:prstGeom prst="rect">
            <a:avLst/>
          </a:prstGeom>
        </p:spPr>
      </p:pic>
      <p:sp>
        <p:nvSpPr>
          <p:cNvPr id="10" name="Google Shape;61;p14">
            <a:extLst>
              <a:ext uri="{FF2B5EF4-FFF2-40B4-BE49-F238E27FC236}">
                <a16:creationId xmlns:a16="http://schemas.microsoft.com/office/drawing/2014/main" id="{C1DC543B-BEF6-46A3-9E4A-C523A75F843B}"/>
              </a:ext>
            </a:extLst>
          </p:cNvPr>
          <p:cNvSpPr txBox="1">
            <a:spLocks/>
          </p:cNvSpPr>
          <p:nvPr/>
        </p:nvSpPr>
        <p:spPr>
          <a:xfrm>
            <a:off x="311700" y="-22578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990"/>
            </a:pPr>
            <a:r>
              <a:rPr lang="en-GB" b="1" dirty="0">
                <a:solidFill>
                  <a:srgbClr val="003B70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Overview – CBC Program IFFCO </a:t>
            </a:r>
            <a:r>
              <a:rPr lang="en-GB" b="1" dirty="0" err="1">
                <a:solidFill>
                  <a:srgbClr val="003B70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Kisan</a:t>
            </a:r>
            <a:endParaRPr lang="en-GB" b="1" dirty="0">
              <a:solidFill>
                <a:srgbClr val="003B70"/>
              </a:solidFill>
              <a:latin typeface="Poppins" panose="00000500000000000000" pitchFamily="2" charset="0"/>
              <a:ea typeface="Times New Roman"/>
              <a:cs typeface="Poppins" panose="00000500000000000000" pitchFamily="2" charset="0"/>
              <a:sym typeface="Times New Roman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133394E-23F7-4CB8-AB80-9790645FB78B}"/>
              </a:ext>
            </a:extLst>
          </p:cNvPr>
          <p:cNvSpPr txBox="1"/>
          <p:nvPr/>
        </p:nvSpPr>
        <p:spPr>
          <a:xfrm>
            <a:off x="5035465" y="4870601"/>
            <a:ext cx="51063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IN" sz="1100" dirty="0"/>
              <a:t>Click to view map: </a:t>
            </a:r>
            <a:r>
              <a:rPr lang="en-IN" sz="1100" dirty="0">
                <a:hlinkClick r:id="rId4"/>
              </a:rPr>
              <a:t>CBC_2022 | Tableau Public</a:t>
            </a:r>
            <a:endParaRPr lang="en-IN" sz="1100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8B8E40-36F3-43FB-B5FB-5BE44662AC30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6</a:t>
            </a:fld>
            <a:endParaRPr lang="en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1;p14">
            <a:extLst>
              <a:ext uri="{FF2B5EF4-FFF2-40B4-BE49-F238E27FC236}">
                <a16:creationId xmlns:a16="http://schemas.microsoft.com/office/drawing/2014/main" id="{C09A6DEF-F151-4037-B217-2B60449EEEEA}"/>
              </a:ext>
            </a:extLst>
          </p:cNvPr>
          <p:cNvSpPr txBox="1">
            <a:spLocks/>
          </p:cNvSpPr>
          <p:nvPr/>
        </p:nvSpPr>
        <p:spPr>
          <a:xfrm>
            <a:off x="426825" y="150011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buSzPts val="990"/>
            </a:pPr>
            <a:r>
              <a:rPr lang="en-GB" sz="3200" b="1" dirty="0">
                <a:solidFill>
                  <a:srgbClr val="003B70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Benefits to Stakeholder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EABBD05-F66A-4B07-A888-7CED19D25EC7}"/>
              </a:ext>
            </a:extLst>
          </p:cNvPr>
          <p:cNvSpPr/>
          <p:nvPr/>
        </p:nvSpPr>
        <p:spPr>
          <a:xfrm>
            <a:off x="96252" y="1296535"/>
            <a:ext cx="2881593" cy="342388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Technology orientation and capacity building on Biofortified crops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Near-real time farm advisory services (voice and SMS)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On-ground </a:t>
            </a:r>
            <a:r>
              <a:rPr lang="en-IN" sz="1600" kern="1200" spc="-10" dirty="0" err="1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agri</a:t>
            </a: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expert support on weekly basis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Pest &amp; disease guide book, leaf </a:t>
            </a:r>
            <a:r>
              <a:rPr lang="en-IN" sz="1600" kern="1200" spc="-10" dirty="0" err="1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color</a:t>
            </a: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 chart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Weekly remote sensing based analytics on farm performance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EDC2E62-2045-44C1-A50C-600AF9C38109}"/>
              </a:ext>
            </a:extLst>
          </p:cNvPr>
          <p:cNvSpPr/>
          <p:nvPr/>
        </p:nvSpPr>
        <p:spPr>
          <a:xfrm>
            <a:off x="3150238" y="1296535"/>
            <a:ext cx="2881593" cy="342388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Training on utilizing cutting-edge precision farming technology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US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Set up ‘island of excellence’ with precision tech in vicinity</a:t>
            </a:r>
            <a:endParaRPr lang="en-IN" sz="1600" kern="1200" spc="-10" dirty="0">
              <a:solidFill>
                <a:srgbClr val="222831"/>
              </a:solidFill>
              <a:latin typeface="Neue Haas Unica" panose="020B0504030206020203" pitchFamily="34" charset="0"/>
              <a:cs typeface="Calibri"/>
            </a:endParaRP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IoT sensors: 4 AWWSs installed 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‘demand-driven’ crop production under holistic contract farming arrangement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4BA18A8-E058-4556-B695-36881517A3F3}"/>
              </a:ext>
            </a:extLst>
          </p:cNvPr>
          <p:cNvSpPr/>
          <p:nvPr/>
        </p:nvSpPr>
        <p:spPr>
          <a:xfrm>
            <a:off x="6204224" y="1296535"/>
            <a:ext cx="2881593" cy="3423882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 - Turn-key services offering complete tech enabled end-to-end implementation services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Impact driven last mile farmer connectivity and engagement</a:t>
            </a:r>
          </a:p>
          <a:p>
            <a:pPr>
              <a:spcBef>
                <a:spcPts val="400"/>
              </a:spcBef>
              <a:spcAft>
                <a:spcPts val="400"/>
              </a:spcAft>
            </a:pPr>
            <a:r>
              <a:rPr lang="en-IN" sz="1600" kern="1200" spc="-10" dirty="0">
                <a:solidFill>
                  <a:srgbClr val="222831"/>
                </a:solidFill>
                <a:latin typeface="Neue Haas Unica" panose="020B0504030206020203" pitchFamily="34" charset="0"/>
                <a:cs typeface="Calibri"/>
              </a:rPr>
              <a:t>- Possibility of scaling up commercial programs through a single ecosystem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EE38B6E-69E7-4E5D-AD37-D9C8D323F14E}"/>
              </a:ext>
            </a:extLst>
          </p:cNvPr>
          <p:cNvSpPr/>
          <p:nvPr/>
        </p:nvSpPr>
        <p:spPr>
          <a:xfrm>
            <a:off x="126569" y="968375"/>
            <a:ext cx="2851276" cy="2735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tx1"/>
                </a:solidFill>
              </a:rPr>
              <a:t>Farmer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02713D-6E8B-4D2A-87C0-C987B477D4D3}"/>
              </a:ext>
            </a:extLst>
          </p:cNvPr>
          <p:cNvSpPr/>
          <p:nvPr/>
        </p:nvSpPr>
        <p:spPr>
          <a:xfrm>
            <a:off x="3150238" y="954723"/>
            <a:ext cx="2881593" cy="28722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tx1"/>
                </a:solidFill>
              </a:rPr>
              <a:t>Agribusiness/ FPO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34459F7-E67B-49B1-98ED-4BF9408067DA}"/>
              </a:ext>
            </a:extLst>
          </p:cNvPr>
          <p:cNvSpPr/>
          <p:nvPr/>
        </p:nvSpPr>
        <p:spPr>
          <a:xfrm>
            <a:off x="6234541" y="941080"/>
            <a:ext cx="2851276" cy="2735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IN" sz="1600" b="1" dirty="0">
                <a:solidFill>
                  <a:schemeClr val="tx1"/>
                </a:solidFill>
              </a:rPr>
              <a:t>Partner</a:t>
            </a:r>
          </a:p>
        </p:txBody>
      </p:sp>
      <p:sp>
        <p:nvSpPr>
          <p:cNvPr id="24" name="Slide Number Placeholder 23">
            <a:extLst>
              <a:ext uri="{FF2B5EF4-FFF2-40B4-BE49-F238E27FC236}">
                <a16:creationId xmlns:a16="http://schemas.microsoft.com/office/drawing/2014/main" id="{D8B3ED6F-20E6-4F6C-AD3E-50228D38DC8D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7</a:t>
            </a:fld>
            <a:endParaRPr lang="en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A6B287AD-B3B7-4F02-8680-1E229C5F21D3}"/>
              </a:ext>
            </a:extLst>
          </p:cNvPr>
          <p:cNvSpPr txBox="1">
            <a:spLocks/>
          </p:cNvSpPr>
          <p:nvPr/>
        </p:nvSpPr>
        <p:spPr>
          <a:xfrm>
            <a:off x="485597" y="4748035"/>
            <a:ext cx="361044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z="1200" smtClean="0">
                <a:solidFill>
                  <a:schemeClr val="bg1"/>
                </a:solidFill>
              </a:rPr>
              <a:pPr/>
              <a:t>7</a:t>
            </a:fld>
            <a:endParaRPr lang="en-IN" sz="8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09953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EEAA97E-432B-26EB-DFD1-A9082CECFADD}"/>
              </a:ext>
            </a:extLst>
          </p:cNvPr>
          <p:cNvSpPr/>
          <p:nvPr/>
        </p:nvSpPr>
        <p:spPr>
          <a:xfrm>
            <a:off x="-414338" y="-80906"/>
            <a:ext cx="10215563" cy="1038452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endParaRPr kumimoji="0" lang="en-GB" sz="10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  <a:sym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5110FF-EA12-46F4-B174-C2F973505B88}"/>
              </a:ext>
            </a:extLst>
          </p:cNvPr>
          <p:cNvSpPr/>
          <p:nvPr/>
        </p:nvSpPr>
        <p:spPr>
          <a:xfrm>
            <a:off x="249748" y="1053510"/>
            <a:ext cx="6696961" cy="40010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0" indent="-34290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Farm traceability – Digitized farm profile, geo-fencing, sowing date, age of crop, yield, inputs used, irrigation time, soil report</a:t>
            </a:r>
          </a:p>
          <a:p>
            <a:pPr marL="342900" marR="0" lvl="0" indent="-34290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Satellite imagery analysis – Weekly NDVI (growth of crop), soil moisture stress, Nitrogen spread, soil organic carbon content</a:t>
            </a:r>
          </a:p>
          <a:p>
            <a:pPr marL="342900" marR="0" lvl="0" indent="-34290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Image recognition – Auto image based disease and pest recognition</a:t>
            </a:r>
          </a:p>
          <a:p>
            <a:pPr marL="342900" marR="0" lvl="0" indent="-34290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Crop simulation models – Simulate farm conditions in advance to predict pest and disease infestation, schedule irrigation, fertigation</a:t>
            </a:r>
          </a:p>
          <a:p>
            <a:pPr marL="342900" marR="0" lvl="0" indent="-342900" algn="just" defTabSz="6858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kumimoji="0" lang="en-US" sz="1800" b="0" i="0" u="none" strike="noStrike" kern="1200" cap="none" spc="-10" normalizeH="0" baseline="0" noProof="0" dirty="0">
                <a:ln>
                  <a:noFill/>
                </a:ln>
                <a:solidFill>
                  <a:srgbClr val="222831"/>
                </a:solidFill>
                <a:effectLst/>
                <a:uLnTx/>
                <a:uFillTx/>
                <a:latin typeface="Neue Haas Unica" panose="020B0504030206020203" pitchFamily="34" charset="0"/>
                <a:ea typeface="+mn-ea"/>
                <a:cs typeface="Calibri"/>
                <a:sym typeface="Arial"/>
              </a:rPr>
              <a:t>IoT Sensors – Dynamic farm microclimate (6 IoT sensors for: Soil moisture (above and under soil), leaf moisture, temperature, radiance, humidity)</a:t>
            </a:r>
          </a:p>
        </p:txBody>
      </p:sp>
      <p:sp>
        <p:nvSpPr>
          <p:cNvPr id="29" name="object 3">
            <a:extLst>
              <a:ext uri="{FF2B5EF4-FFF2-40B4-BE49-F238E27FC236}">
                <a16:creationId xmlns:a16="http://schemas.microsoft.com/office/drawing/2014/main" id="{35184ADA-A011-4B0B-B987-7712AFC6A718}"/>
              </a:ext>
            </a:extLst>
          </p:cNvPr>
          <p:cNvSpPr txBox="1">
            <a:spLocks/>
          </p:cNvSpPr>
          <p:nvPr/>
        </p:nvSpPr>
        <p:spPr>
          <a:xfrm>
            <a:off x="304342" y="340385"/>
            <a:ext cx="6325058" cy="504946"/>
          </a:xfrm>
          <a:prstGeom prst="rect">
            <a:avLst/>
          </a:prstGeom>
        </p:spPr>
        <p:txBody>
          <a:bodyPr vert="horz" wrap="square" lIns="0" tIns="12383" rIns="0" bIns="0" rtlCol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9525" marR="0" lvl="0" indent="0" algn="l" defTabSz="685800" rtl="0" eaLnBrk="1" fontAlgn="auto" latinLnBrk="0" hangingPunct="1">
              <a:lnSpc>
                <a:spcPct val="100000"/>
              </a:lnSpc>
              <a:spcBef>
                <a:spcPts val="98"/>
              </a:spcBef>
              <a:spcAft>
                <a:spcPts val="0"/>
              </a:spcAft>
              <a:buClr>
                <a:srgbClr val="000000"/>
              </a:buClr>
              <a:buSzTx/>
              <a:buFont typeface="Arial"/>
              <a:buNone/>
              <a:tabLst/>
              <a:defRPr/>
            </a:pPr>
            <a:r>
              <a:rPr kumimoji="0" lang="fr-FR" sz="3200" b="1" i="0" u="none" strike="noStrike" kern="1200" cap="none" spc="8" normalizeH="0" baseline="0" noProof="0" dirty="0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  <a:sym typeface="Arial"/>
              </a:rPr>
              <a:t>Tech </a:t>
            </a:r>
            <a:r>
              <a:rPr kumimoji="0" lang="fr-FR" sz="3200" b="1" i="0" u="none" strike="noStrike" kern="1200" cap="none" spc="8" normalizeH="0" baseline="0" noProof="0" dirty="0" err="1">
                <a:ln>
                  <a:noFill/>
                </a:ln>
                <a:solidFill>
                  <a:srgbClr val="FFC000"/>
                </a:solidFill>
                <a:effectLst/>
                <a:uLnTx/>
                <a:uFillTx/>
                <a:latin typeface="Poppins" panose="00000500000000000000" pitchFamily="2" charset="0"/>
                <a:ea typeface="+mj-ea"/>
                <a:cs typeface="Poppins" panose="00000500000000000000" pitchFamily="2" charset="0"/>
                <a:sym typeface="Arial"/>
              </a:rPr>
              <a:t>Overview</a:t>
            </a:r>
            <a:endParaRPr kumimoji="0" lang="fr-FR" sz="3200" b="1" i="0" u="none" strike="noStrike" kern="1200" cap="none" spc="8" normalizeH="0" baseline="0" noProof="0" dirty="0">
              <a:ln>
                <a:noFill/>
              </a:ln>
              <a:solidFill>
                <a:srgbClr val="FFC000"/>
              </a:solidFill>
              <a:effectLst/>
              <a:uLnTx/>
              <a:uFillTx/>
              <a:latin typeface="Poppins" panose="00000500000000000000" pitchFamily="2" charset="0"/>
              <a:ea typeface="+mj-ea"/>
              <a:cs typeface="Poppins" panose="00000500000000000000" pitchFamily="2" charset="0"/>
              <a:sym typeface="Arial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D72107A-F649-47E5-B78A-9E75649E5F8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93425" y="-188303"/>
            <a:ext cx="4840484" cy="5520105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77D7761-2D47-4633-AE35-DE30B5C5C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44200" y="4833654"/>
            <a:ext cx="397148" cy="309847"/>
          </a:xfrm>
        </p:spPr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fld id="{F8C440BC-BCAB-415D-92DA-176675AB4FF8}" type="slidenum">
              <a:rPr kumimoji="0" lang="en-IN" sz="1050" b="1" i="0" u="none" strike="noStrike" kern="1200" cap="none" spc="0" normalizeH="0" baseline="0" noProof="0">
                <a:ln>
                  <a:noFill/>
                </a:ln>
                <a:solidFill>
                  <a:srgbClr val="DBD4D1">
                    <a:tint val="75000"/>
                  </a:srgbClr>
                </a:solidFill>
                <a:effectLst/>
                <a:uLnTx/>
                <a:uFillTx/>
                <a:latin typeface="Arial"/>
                <a:ea typeface="+mn-ea"/>
                <a:cs typeface="Calibri"/>
                <a:sym typeface="Calibri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8</a:t>
            </a:fld>
            <a:endParaRPr kumimoji="0" lang="en-IN" sz="1050" b="1" i="0" u="none" strike="noStrike" kern="1200" cap="none" spc="0" normalizeH="0" baseline="0" noProof="0" dirty="0">
              <a:ln>
                <a:noFill/>
              </a:ln>
              <a:solidFill>
                <a:srgbClr val="DBD4D1">
                  <a:tint val="75000"/>
                </a:srgbClr>
              </a:solidFill>
              <a:effectLst/>
              <a:uLnTx/>
              <a:uFillTx/>
              <a:latin typeface="Arial"/>
              <a:ea typeface="+mn-ea"/>
              <a:cs typeface="Calibri"/>
              <a:sym typeface="Calibri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27B0EBC4-645A-4A1A-B0B9-64D9707DB6E9}"/>
              </a:ext>
            </a:extLst>
          </p:cNvPr>
          <p:cNvSpPr txBox="1">
            <a:spLocks/>
          </p:cNvSpPr>
          <p:nvPr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z="1200" smtClean="0"/>
              <a:pPr/>
              <a:t>8</a:t>
            </a:fld>
            <a:endParaRPr lang="en-IN" sz="800" dirty="0"/>
          </a:p>
        </p:txBody>
      </p:sp>
    </p:spTree>
    <p:extLst>
      <p:ext uri="{BB962C8B-B14F-4D97-AF65-F5344CB8AC3E}">
        <p14:creationId xmlns:p14="http://schemas.microsoft.com/office/powerpoint/2010/main" val="359316989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" name="Google Shape;128;p23"/>
          <p:cNvSpPr txBox="1">
            <a:spLocks noGrp="1"/>
          </p:cNvSpPr>
          <p:nvPr>
            <p:ph type="title"/>
          </p:nvPr>
        </p:nvSpPr>
        <p:spPr>
          <a:xfrm>
            <a:off x="107298" y="282095"/>
            <a:ext cx="8520600" cy="73988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rm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b="1" dirty="0">
                <a:solidFill>
                  <a:srgbClr val="003B70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Krishi Dev Gyan  </a:t>
            </a:r>
            <a:endParaRPr b="1" dirty="0">
              <a:solidFill>
                <a:srgbClr val="003B70"/>
              </a:solidFill>
              <a:latin typeface="Poppins" panose="00000500000000000000" pitchFamily="2" charset="0"/>
              <a:ea typeface="Times New Roman"/>
              <a:cs typeface="Poppins" panose="00000500000000000000" pitchFamily="2" charset="0"/>
              <a:sym typeface="Times New Roman"/>
            </a:endParaRPr>
          </a:p>
        </p:txBody>
      </p:sp>
      <p:sp>
        <p:nvSpPr>
          <p:cNvPr id="129" name="Google Shape;129;p23"/>
          <p:cNvSpPr txBox="1">
            <a:spLocks noGrp="1"/>
          </p:cNvSpPr>
          <p:nvPr>
            <p:ph type="title"/>
          </p:nvPr>
        </p:nvSpPr>
        <p:spPr>
          <a:xfrm>
            <a:off x="3160538" y="399378"/>
            <a:ext cx="4347000" cy="47005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SzPts val="990"/>
              <a:buNone/>
            </a:pPr>
            <a:r>
              <a:rPr lang="en" sz="1400" dirty="0">
                <a:solidFill>
                  <a:schemeClr val="lt1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(</a:t>
            </a:r>
            <a:r>
              <a:rPr lang="en-IN" sz="1400" dirty="0">
                <a:solidFill>
                  <a:schemeClr val="lt1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Go Live</a:t>
            </a:r>
            <a:r>
              <a:rPr lang="en" sz="1400" dirty="0">
                <a:solidFill>
                  <a:schemeClr val="lt1"/>
                </a:solidFill>
                <a:latin typeface="Poppins" panose="00000500000000000000" pitchFamily="2" charset="0"/>
                <a:ea typeface="Times New Roman"/>
                <a:cs typeface="Poppins" panose="00000500000000000000" pitchFamily="2" charset="0"/>
                <a:sym typeface="Times New Roman"/>
              </a:rPr>
              <a:t>) </a:t>
            </a:r>
            <a:endParaRPr sz="1400" dirty="0">
              <a:solidFill>
                <a:schemeClr val="lt1"/>
              </a:solidFill>
              <a:latin typeface="Poppins" panose="00000500000000000000" pitchFamily="2" charset="0"/>
              <a:ea typeface="Times New Roman"/>
              <a:cs typeface="Poppins" panose="00000500000000000000" pitchFamily="2" charset="0"/>
              <a:sym typeface="Times New Roman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12D205-C0DA-4645-89FB-3850415A745F}"/>
              </a:ext>
            </a:extLst>
          </p:cNvPr>
          <p:cNvSpPr/>
          <p:nvPr/>
        </p:nvSpPr>
        <p:spPr>
          <a:xfrm>
            <a:off x="398645" y="1203171"/>
            <a:ext cx="4710015" cy="271907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Advisories on cutting edge and current Agri-research based crop PoPs.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Near real-time consultation with top-notch Agri-experts via video and audio channels.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Satellite Imagery Analysis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Pest and Disease prediction based on weather conditions </a:t>
            </a:r>
          </a:p>
          <a:p>
            <a:pPr marL="342900" lvl="0" indent="-342900" algn="just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"/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Data-driven authorized automated personalized advisories</a:t>
            </a:r>
          </a:p>
          <a:p>
            <a:pPr marL="495300" algn="just">
              <a:lnSpc>
                <a:spcPct val="107000"/>
              </a:lnSpc>
              <a:spcAft>
                <a:spcPts val="800"/>
              </a:spcAft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 </a:t>
            </a:r>
          </a:p>
          <a:p>
            <a:pPr algn="just">
              <a:lnSpc>
                <a:spcPct val="107000"/>
              </a:lnSpc>
              <a:spcAft>
                <a:spcPts val="800"/>
              </a:spcAft>
            </a:pPr>
            <a:r>
              <a:rPr lang="en-IN" sz="1200" dirty="0">
                <a:solidFill>
                  <a:schemeClr val="bg1"/>
                </a:solidFill>
                <a:effectLst/>
                <a:latin typeface="Neue Haas Unica" panose="020B0504030206020203" pitchFamily="34" charset="0"/>
                <a:ea typeface="Calibri" panose="020F0502020204030204" pitchFamily="34" charset="0"/>
                <a:cs typeface="Mangal"/>
              </a:rPr>
              <a:t>KDG App is used by all the Field Executives to onboard farmer details and farm data to capture daily activities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7E981D0-57B3-4C97-8945-FEAC995AC74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6118" y="1020318"/>
            <a:ext cx="3519237" cy="3846785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604A2C-C1C6-4192-B9FD-26DDFAFBF515}"/>
              </a:ext>
            </a:extLst>
          </p:cNvPr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" smtClean="0"/>
              <a:t>9</a:t>
            </a:fld>
            <a:endParaRPr lang="en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66757E83-1102-4FB8-9473-BF813BAA0468}"/>
              </a:ext>
            </a:extLst>
          </p:cNvPr>
          <p:cNvSpPr txBox="1">
            <a:spLocks/>
          </p:cNvSpPr>
          <p:nvPr/>
        </p:nvSpPr>
        <p:spPr>
          <a:xfrm>
            <a:off x="467545" y="4731993"/>
            <a:ext cx="397148" cy="30984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40" tIns="45720" rIns="91440" bIns="45720" rtlCol="0" anchor="ctr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788" b="1" i="0" u="none" strike="noStrike" cap="none">
                <a:solidFill>
                  <a:schemeClr val="tx1">
                    <a:tint val="75000"/>
                  </a:schemeClr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900" b="0" i="0" u="none" strike="noStrike" cap="none">
                <a:solidFill>
                  <a:srgbClr val="888888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F8C440BC-BCAB-415D-92DA-176675AB4FF8}" type="slidenum">
              <a:rPr lang="en-IN" sz="1200" smtClean="0">
                <a:solidFill>
                  <a:schemeClr val="bg1"/>
                </a:solidFill>
              </a:rPr>
              <a:pPr/>
              <a:t>9</a:t>
            </a:fld>
            <a:endParaRPr lang="en-IN" sz="8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afcd1f5-4a5e-475c-8e39-3932cc61517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DIAGRAM" val="2afcd1f5-4a5e-475c-8e39-3932cc615179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OWER_USER_TAGS_ICONS" val=""/>
</p:tagLst>
</file>

<file path=ppt/theme/theme1.xml><?xml version="1.0" encoding="utf-8"?>
<a:theme xmlns:a="http://schemas.openxmlformats.org/drawingml/2006/main" name="Simple Dark">
  <a:themeElements>
    <a:clrScheme name="Simple Dark">
      <a:dk1>
        <a:srgbClr val="FFFFFF"/>
      </a:dk1>
      <a:lt1>
        <a:srgbClr val="212121"/>
      </a:lt1>
      <a:dk2>
        <a:srgbClr val="303030"/>
      </a:dk2>
      <a:lt2>
        <a:srgbClr val="ADADAD"/>
      </a:lt2>
      <a:accent1>
        <a:srgbClr val="009688"/>
      </a:accent1>
      <a:accent2>
        <a:srgbClr val="EEEEEE"/>
      </a:accent2>
      <a:accent3>
        <a:srgbClr val="78909C"/>
      </a:accent3>
      <a:accent4>
        <a:srgbClr val="FFAB40"/>
      </a:accent4>
      <a:accent5>
        <a:srgbClr val="4DD0E1"/>
      </a:accent5>
      <a:accent6>
        <a:srgbClr val="EEFF41"/>
      </a:accent6>
      <a:hlink>
        <a:srgbClr val="4DD0E1"/>
      </a:hlink>
      <a:folHlink>
        <a:srgbClr val="4DD0E1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主题">
  <a:themeElements>
    <a:clrScheme name="Custom 10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70AD47"/>
      </a:accent1>
      <a:accent2>
        <a:srgbClr val="7B9949"/>
      </a:accent2>
      <a:accent3>
        <a:srgbClr val="193847"/>
      </a:accent3>
      <a:accent4>
        <a:srgbClr val="27596B"/>
      </a:accent4>
      <a:accent5>
        <a:srgbClr val="95704A"/>
      </a:accent5>
      <a:accent6>
        <a:srgbClr val="BF9000"/>
      </a:accent6>
      <a:hlink>
        <a:srgbClr val="44546A"/>
      </a:hlink>
      <a:folHlink>
        <a:srgbClr val="44546A"/>
      </a:folHlink>
    </a:clrScheme>
    <a:fontScheme name="Custom 2">
      <a:majorFont>
        <a:latin typeface="Calibri"/>
        <a:ea typeface="微软雅黑"/>
        <a:cs typeface=""/>
      </a:majorFont>
      <a:minorFont>
        <a:latin typeface="Calibri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Music App Pitch Deck by SlidesGo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FFAB40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 Them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736</TotalTime>
  <Words>860</Words>
  <Application>Microsoft Macintosh PowerPoint</Application>
  <PresentationFormat>On-screen Show (16:9)</PresentationFormat>
  <Paragraphs>123</Paragraphs>
  <Slides>12</Slides>
  <Notes>5</Notes>
  <HiddenSlides>0</HiddenSlides>
  <MMClips>0</MMClips>
  <ScaleCrop>false</ScaleCrop>
  <HeadingPairs>
    <vt:vector size="6" baseType="variant">
      <vt:variant>
        <vt:lpstr>Fonts Used</vt:lpstr>
      </vt:variant>
      <vt:variant>
        <vt:i4>9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12</vt:i4>
      </vt:variant>
    </vt:vector>
  </HeadingPairs>
  <TitlesOfParts>
    <vt:vector size="25" baseType="lpstr">
      <vt:lpstr>Arial</vt:lpstr>
      <vt:lpstr>Calibri</vt:lpstr>
      <vt:lpstr>Economica</vt:lpstr>
      <vt:lpstr>Fira Sans Extra Condensed Medium</vt:lpstr>
      <vt:lpstr>Fjalla One</vt:lpstr>
      <vt:lpstr>Neue Haas Unica</vt:lpstr>
      <vt:lpstr>Poppins</vt:lpstr>
      <vt:lpstr>Roboto Condensed Light</vt:lpstr>
      <vt:lpstr>Symbol</vt:lpstr>
      <vt:lpstr>Simple Dark</vt:lpstr>
      <vt:lpstr>Office 主题</vt:lpstr>
      <vt:lpstr>1_Music App Pitch Deck by SlidesGo</vt:lpstr>
      <vt:lpstr>Office Theme</vt:lpstr>
      <vt:lpstr>PowerPoint Presentation</vt:lpstr>
      <vt:lpstr>IFFCO - Extensive Reach And Strength In Rural India</vt:lpstr>
      <vt:lpstr>PowerPoint Presentation</vt:lpstr>
      <vt:lpstr>450,00,00+ farmers</vt:lpstr>
      <vt:lpstr>PowerPoint Presentation</vt:lpstr>
      <vt:lpstr>PowerPoint Presentation</vt:lpstr>
      <vt:lpstr>PowerPoint Presentation</vt:lpstr>
      <vt:lpstr>PowerPoint Presentation</vt:lpstr>
      <vt:lpstr>Krishi Dev Gyan  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arnessing Tech in Nutrition Smart Agriculture</dc:title>
  <dc:creator>Jai Watts</dc:creator>
  <cp:lastModifiedBy>Decker, James (HarvestPlus)</cp:lastModifiedBy>
  <cp:revision>73</cp:revision>
  <dcterms:modified xsi:type="dcterms:W3CDTF">2022-09-13T15:20:41Z</dcterms:modified>
</cp:coreProperties>
</file>